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44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3.xml" ContentType="application/vnd.openxmlformats-officedocument.theme+xml"/>
  <Override PartName="/ppt/tags/tag45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  <p:sldMasterId id="2147483660" r:id="rId5"/>
    <p:sldMasterId id="2147483834" r:id="rId6"/>
  </p:sldMasterIdLst>
  <p:notesMasterIdLst>
    <p:notesMasterId r:id="rId23"/>
  </p:notesMasterIdLst>
  <p:sldIdLst>
    <p:sldId id="1352" r:id="rId7"/>
    <p:sldId id="2088197359" r:id="rId8"/>
    <p:sldId id="2088197352" r:id="rId9"/>
    <p:sldId id="2088197362" r:id="rId10"/>
    <p:sldId id="2088197361" r:id="rId11"/>
    <p:sldId id="2088197364" r:id="rId12"/>
    <p:sldId id="2088197366" r:id="rId13"/>
    <p:sldId id="2088197365" r:id="rId14"/>
    <p:sldId id="2088197368" r:id="rId15"/>
    <p:sldId id="2088197350" r:id="rId16"/>
    <p:sldId id="2088197373" r:id="rId17"/>
    <p:sldId id="2088197351" r:id="rId18"/>
    <p:sldId id="2088197369" r:id="rId19"/>
    <p:sldId id="2088197370" r:id="rId20"/>
    <p:sldId id="2088197371" r:id="rId21"/>
    <p:sldId id="2088197372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aite, Rachel" initials="WR" lastIdx="7" clrIdx="0">
    <p:extLst>
      <p:ext uri="{19B8F6BF-5375-455C-9EA6-DF929625EA0E}">
        <p15:presenceInfo xmlns:p15="http://schemas.microsoft.com/office/powerpoint/2012/main" userId="S::rwaite@deloitte.com::3d0d69a9-bd1d-4f92-9846-f5e1c678f86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A2D6"/>
    <a:srgbClr val="59CC8D"/>
    <a:srgbClr val="FFFFFF"/>
    <a:srgbClr val="626262"/>
    <a:srgbClr val="FFC000"/>
    <a:srgbClr val="0BD0D9"/>
    <a:srgbClr val="75BDA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3" autoAdjust="0"/>
    <p:restoredTop sz="94660"/>
  </p:normalViewPr>
  <p:slideViewPr>
    <p:cSldViewPr snapToGrid="0">
      <p:cViewPr varScale="1">
        <p:scale>
          <a:sx n="79" d="100"/>
          <a:sy n="79" d="100"/>
        </p:scale>
        <p:origin x="232" y="5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40C9B5-6238-4584-8B8C-AA27DAAF2F76}" type="datetimeFigureOut">
              <a:rPr lang="en-US" smtClean="0"/>
              <a:t>6/19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501B07-AE1A-4317-94AF-A567C9BFEDF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7230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501B07-AE1A-4317-94AF-A567C9BFEDF1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04753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501B07-AE1A-4317-94AF-A567C9BFEDF1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05276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95446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501B07-AE1A-4317-94AF-A567C9BFEDF1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65034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4045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029D3-948A-448C-9B25-F1741F359394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6298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501B07-AE1A-4317-94AF-A567C9BFEDF1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58169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501B07-AE1A-4317-94AF-A567C9BFEDF1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2460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501B07-AE1A-4317-94AF-A567C9BFEDF1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13705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501B07-AE1A-4317-94AF-A567C9BFEDF1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79235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103502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775255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0676730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1782800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1591686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6081119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349187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5694906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361845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3356438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4114982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259417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66254307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3648667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943791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19364712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8422305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97002279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53229772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93696784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1357454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5197691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123589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9936743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1340760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28563075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00816427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1009758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5155918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4964573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44034439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3163653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4430133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2365217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155408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159967243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351976"/>
            <a:ext cx="11582400" cy="465922"/>
          </a:xfrm>
        </p:spPr>
        <p:txBody>
          <a:bodyPr>
            <a:normAutofit/>
          </a:bodyPr>
          <a:lstStyle>
            <a:lvl1pPr>
              <a:defRPr sz="2000" b="1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049312"/>
            <a:ext cx="11582400" cy="5029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73977" y="817897"/>
            <a:ext cx="11521440" cy="0"/>
          </a:xfrm>
          <a:prstGeom prst="line">
            <a:avLst/>
          </a:prstGeom>
          <a:ln w="57150"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39000">
                  <a:schemeClr val="accent1">
                    <a:lumMod val="45000"/>
                    <a:lumOff val="55000"/>
                  </a:schemeClr>
                </a:gs>
                <a:gs pos="0">
                  <a:schemeClr val="accent1"/>
                </a:gs>
              </a:gsLst>
              <a:lin ang="0" scaled="0"/>
            </a:gradFill>
          </a:ln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6550549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825067" y="6477000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MS LAC All Hand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2599871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825067" y="6477000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MS LAC All Hand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51560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825067" y="6477000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MS LAC All Hand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00262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351976"/>
            <a:ext cx="11582400" cy="465922"/>
          </a:xfrm>
        </p:spPr>
        <p:txBody>
          <a:bodyPr>
            <a:normAutofit/>
          </a:bodyPr>
          <a:lstStyle>
            <a:lvl1pPr>
              <a:defRPr sz="2000" b="1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049312"/>
            <a:ext cx="11582400" cy="5029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73977" y="817897"/>
            <a:ext cx="11521440" cy="0"/>
          </a:xfrm>
          <a:prstGeom prst="line">
            <a:avLst/>
          </a:prstGeom>
          <a:ln w="57150"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39000">
                  <a:schemeClr val="accent1">
                    <a:lumMod val="45000"/>
                    <a:lumOff val="55000"/>
                  </a:schemeClr>
                </a:gs>
                <a:gs pos="0">
                  <a:schemeClr val="accent1"/>
                </a:gs>
              </a:gsLst>
              <a:lin ang="0" scaled="0"/>
            </a:gradFill>
          </a:ln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988333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825067" y="6477000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MS LAC All Hand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64989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81043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290395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479034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5313581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32265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138818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50865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88804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027307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br>
              <a:rPr lang="en-US" sz="650" noProof="0" dirty="0">
                <a:solidFill>
                  <a:schemeClr val="bg1"/>
                </a:solidFill>
              </a:rPr>
            </a:b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630688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78271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12762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br>
              <a:rPr lang="en-US" sz="650" noProof="0" dirty="0">
                <a:solidFill>
                  <a:schemeClr val="bg1"/>
                </a:solidFill>
              </a:rPr>
            </a:b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9700418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1375677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br>
              <a:rPr lang="en-US" sz="650" noProof="0" dirty="0">
                <a:solidFill>
                  <a:schemeClr val="bg1"/>
                </a:solidFill>
              </a:rPr>
            </a:b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8695566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br>
              <a:rPr lang="en-US" sz="650" noProof="0" dirty="0">
                <a:solidFill>
                  <a:schemeClr val="bg1"/>
                </a:solidFill>
              </a:rPr>
            </a:b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2778247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br>
              <a:rPr lang="en-US" sz="650" noProof="0" dirty="0">
                <a:solidFill>
                  <a:schemeClr val="bg1"/>
                </a:solidFill>
              </a:rPr>
            </a:b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1125981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40320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6617836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412648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4529792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33546139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0828744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2514790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191421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9244286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3906179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6228029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4591658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9293525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442294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24715292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43918996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32857967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2334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256348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21564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996986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95787041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1899215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20865957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br>
              <a:rPr lang="en-US" sz="650" noProof="0" dirty="0">
                <a:solidFill>
                  <a:schemeClr val="bg1"/>
                </a:solidFill>
              </a:rPr>
            </a:b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04198514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0917455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4396998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9514605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54846615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99785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3" Type="http://schemas.openxmlformats.org/officeDocument/2006/relationships/slideLayout" Target="../slideLayouts/slideLayout45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7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6.xml"/><Relationship Id="rId9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slideLayout" Target="../slideLayouts/slideLayout74.xml"/><Relationship Id="rId39" Type="http://schemas.openxmlformats.org/officeDocument/2006/relationships/slideLayout" Target="../slideLayouts/slideLayout87.xml"/><Relationship Id="rId21" Type="http://schemas.openxmlformats.org/officeDocument/2006/relationships/slideLayout" Target="../slideLayouts/slideLayout69.xml"/><Relationship Id="rId34" Type="http://schemas.openxmlformats.org/officeDocument/2006/relationships/slideLayout" Target="../slideLayouts/slideLayout82.xml"/><Relationship Id="rId42" Type="http://schemas.openxmlformats.org/officeDocument/2006/relationships/theme" Target="../theme/theme3.xml"/><Relationship Id="rId7" Type="http://schemas.openxmlformats.org/officeDocument/2006/relationships/slideLayout" Target="../slideLayouts/slideLayout55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9" Type="http://schemas.openxmlformats.org/officeDocument/2006/relationships/slideLayout" Target="../slideLayouts/slideLayout77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32" Type="http://schemas.openxmlformats.org/officeDocument/2006/relationships/slideLayout" Target="../slideLayouts/slideLayout80.xml"/><Relationship Id="rId37" Type="http://schemas.openxmlformats.org/officeDocument/2006/relationships/slideLayout" Target="../slideLayouts/slideLayout85.xml"/><Relationship Id="rId40" Type="http://schemas.openxmlformats.org/officeDocument/2006/relationships/slideLayout" Target="../slideLayouts/slideLayout88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slideLayout" Target="../slideLayouts/slideLayout76.xml"/><Relationship Id="rId36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31" Type="http://schemas.openxmlformats.org/officeDocument/2006/relationships/slideLayout" Target="../slideLayouts/slideLayout79.xml"/><Relationship Id="rId44" Type="http://schemas.openxmlformats.org/officeDocument/2006/relationships/oleObject" Target="../embeddings/oleObject3.bin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slideLayout" Target="../slideLayouts/slideLayout75.xml"/><Relationship Id="rId30" Type="http://schemas.openxmlformats.org/officeDocument/2006/relationships/slideLayout" Target="../slideLayouts/slideLayout78.xml"/><Relationship Id="rId35" Type="http://schemas.openxmlformats.org/officeDocument/2006/relationships/slideLayout" Target="../slideLayouts/slideLayout83.xml"/><Relationship Id="rId43" Type="http://schemas.openxmlformats.org/officeDocument/2006/relationships/tags" Target="../tags/tag45.xml"/><Relationship Id="rId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33" Type="http://schemas.openxmlformats.org/officeDocument/2006/relationships/slideLayout" Target="../slideLayouts/slideLayout81.xml"/><Relationship Id="rId38" Type="http://schemas.openxmlformats.org/officeDocument/2006/relationships/slideLayout" Target="../slideLayouts/slideLayout86.xml"/><Relationship Id="rId20" Type="http://schemas.openxmlformats.org/officeDocument/2006/relationships/slideLayout" Target="../slideLayouts/slideLayout68.xml"/><Relationship Id="rId41" Type="http://schemas.openxmlformats.org/officeDocument/2006/relationships/slideLayout" Target="../slideLayouts/slideLayout8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2834171340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270" imgH="270" progId="TCLayout.ActiveDocument.1">
                  <p:embed/>
                </p:oleObj>
              </mc:Choice>
              <mc:Fallback>
                <p:oleObj name="think-cell Slide" r:id="rId4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3977" y="444113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6F4A4DA-133E-4623-A727-7A73AC5540B4}"/>
              </a:ext>
            </a:extLst>
          </p:cNvPr>
          <p:cNvCxnSpPr/>
          <p:nvPr userDrawn="1"/>
        </p:nvCxnSpPr>
        <p:spPr>
          <a:xfrm>
            <a:off x="273977" y="817897"/>
            <a:ext cx="11521440" cy="0"/>
          </a:xfrm>
          <a:prstGeom prst="line">
            <a:avLst/>
          </a:prstGeom>
          <a:ln w="57150"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39000">
                  <a:schemeClr val="accent1">
                    <a:lumMod val="45000"/>
                    <a:lumOff val="55000"/>
                  </a:schemeClr>
                </a:gs>
                <a:gs pos="0">
                  <a:schemeClr val="accent1"/>
                </a:gs>
              </a:gsLst>
              <a:lin ang="0" scaled="0"/>
            </a:gradFill>
          </a:ln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custDataLst>
      <p:tags r:id="rId44"/>
    </p:custDataLst>
    <p:extLst>
      <p:ext uri="{BB962C8B-B14F-4D97-AF65-F5344CB8AC3E}">
        <p14:creationId xmlns:p14="http://schemas.microsoft.com/office/powerpoint/2010/main" val="24726403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704" r:id="rId2"/>
    <p:sldLayoutId id="2147483664" r:id="rId3"/>
    <p:sldLayoutId id="2147483832" r:id="rId4"/>
    <p:sldLayoutId id="2147483831" r:id="rId5"/>
    <p:sldLayoutId id="2147483667" r:id="rId6"/>
    <p:sldLayoutId id="2147483705" r:id="rId7"/>
    <p:sldLayoutId id="2147483669" r:id="rId8"/>
    <p:sldLayoutId id="2147483670" r:id="rId9"/>
    <p:sldLayoutId id="2147483671" r:id="rId10"/>
    <p:sldLayoutId id="2147483672" r:id="rId11"/>
    <p:sldLayoutId id="214748383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3" r:id="rId32"/>
    <p:sldLayoutId id="2147483694" r:id="rId33"/>
    <p:sldLayoutId id="2147483695" r:id="rId34"/>
    <p:sldLayoutId id="2147483696" r:id="rId35"/>
    <p:sldLayoutId id="2147483697" r:id="rId36"/>
    <p:sldLayoutId id="2147483698" r:id="rId37"/>
    <p:sldLayoutId id="2147483699" r:id="rId38"/>
    <p:sldLayoutId id="2147483700" r:id="rId39"/>
    <p:sldLayoutId id="2147483701" r:id="rId40"/>
    <p:sldLayoutId id="2147483702" r:id="rId41"/>
    <p:sldLayoutId id="2147483879" r:id="rId42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3176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65" r:id="rId2"/>
    <p:sldLayoutId id="2147483666" r:id="rId3"/>
    <p:sldLayoutId id="2147483830" r:id="rId4"/>
    <p:sldLayoutId id="2147483668" r:id="rId5"/>
    <p:sldLayoutId id="2147483663" r:id="rId6"/>
  </p:sldLayoutIdLst>
  <p:transition>
    <p:fade/>
  </p:transition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3251271212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  <p:graphicFrame>
        <p:nvGraphicFramePr>
          <p:cNvPr id="3" name="Draft Stamp">
            <a:extLst>
              <a:ext uri="{FF2B5EF4-FFF2-40B4-BE49-F238E27FC236}">
                <a16:creationId xmlns:a16="http://schemas.microsoft.com/office/drawing/2014/main" id="{1AB37FF3-D0CC-4ADA-8DDE-C484F22F7846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680836796"/>
              </p:ext>
            </p:extLst>
          </p:nvPr>
        </p:nvGraphicFramePr>
        <p:xfrm>
          <a:off x="11055350" y="6350"/>
          <a:ext cx="1136650" cy="48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6650">
                  <a:extLst>
                    <a:ext uri="{9D8B030D-6E8A-4147-A177-3AD203B41FA5}">
                      <a16:colId xmlns:a16="http://schemas.microsoft.com/office/drawing/2014/main" val="2626458934"/>
                    </a:ext>
                  </a:extLst>
                </a:gridCol>
              </a:tblGrid>
              <a:tr h="482600">
                <a:tc>
                  <a:txBody>
                    <a:bodyPr/>
                    <a:lstStyle/>
                    <a:p>
                      <a:r>
                        <a:rPr lang="en-US" sz="2400" b="1" dirty="0">
                          <a:solidFill>
                            <a:srgbClr val="C00000"/>
                          </a:solidFill>
                          <a:latin typeface="Verdana" panose="020B0604030504040204" pitchFamily="34" charset="0"/>
                        </a:rPr>
                        <a:t>DRAFT</a:t>
                      </a:r>
                    </a:p>
                  </a:txBody>
                  <a:tcPr marL="0" marR="0" marT="0" marB="0" anchor="ctr" anchorCtr="1">
                    <a:lnT w="38100" cmpd="sng">
                      <a:solidFill>
                        <a:srgbClr val="C00000"/>
                      </a:solidFill>
                    </a:lnT>
                    <a:lnB w="38100" cmpd="sng">
                      <a:solidFill>
                        <a:srgbClr val="C00000"/>
                      </a:solidFill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46546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5574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46" r:id="rId12"/>
    <p:sldLayoutId id="2147483847" r:id="rId13"/>
    <p:sldLayoutId id="2147483848" r:id="rId14"/>
    <p:sldLayoutId id="2147483849" r:id="rId15"/>
    <p:sldLayoutId id="2147483850" r:id="rId16"/>
    <p:sldLayoutId id="2147483851" r:id="rId17"/>
    <p:sldLayoutId id="2147483852" r:id="rId18"/>
    <p:sldLayoutId id="2147483853" r:id="rId19"/>
    <p:sldLayoutId id="2147483854" r:id="rId20"/>
    <p:sldLayoutId id="2147483855" r:id="rId21"/>
    <p:sldLayoutId id="2147483856" r:id="rId22"/>
    <p:sldLayoutId id="2147483857" r:id="rId23"/>
    <p:sldLayoutId id="2147483858" r:id="rId24"/>
    <p:sldLayoutId id="2147483859" r:id="rId25"/>
    <p:sldLayoutId id="2147483860" r:id="rId26"/>
    <p:sldLayoutId id="2147483861" r:id="rId27"/>
    <p:sldLayoutId id="2147483862" r:id="rId28"/>
    <p:sldLayoutId id="2147483863" r:id="rId29"/>
    <p:sldLayoutId id="2147483864" r:id="rId30"/>
    <p:sldLayoutId id="2147483865" r:id="rId31"/>
    <p:sldLayoutId id="2147483866" r:id="rId32"/>
    <p:sldLayoutId id="2147483867" r:id="rId33"/>
    <p:sldLayoutId id="2147483868" r:id="rId34"/>
    <p:sldLayoutId id="2147483869" r:id="rId35"/>
    <p:sldLayoutId id="2147483870" r:id="rId36"/>
    <p:sldLayoutId id="2147483871" r:id="rId37"/>
    <p:sldLayoutId id="2147483872" r:id="rId38"/>
    <p:sldLayoutId id="2147483873" r:id="rId39"/>
    <p:sldLayoutId id="2147483874" r:id="rId40"/>
    <p:sldLayoutId id="2147483875" r:id="rId41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b="0" i="0" u="none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hyperlink" Target="https://kenver.com/blogs/news/state-snow-sports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2FA2B60E-2EA8-265D-D8F2-B8465388DEA7}"/>
              </a:ext>
            </a:extLst>
          </p:cNvPr>
          <p:cNvSpPr txBox="1">
            <a:spLocks/>
          </p:cNvSpPr>
          <p:nvPr/>
        </p:nvSpPr>
        <p:spPr>
          <a:xfrm>
            <a:off x="1562747" y="1739426"/>
            <a:ext cx="9066506" cy="2328421"/>
          </a:xfrm>
          <a:prstGeom prst="rect">
            <a:avLst/>
          </a:prstGeom>
        </p:spPr>
        <p:txBody>
          <a:bodyPr vert="horz" lIns="0" tIns="45720" rIns="9144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i="0" kern="1200" cap="none" spc="-100" baseline="0">
                <a:solidFill>
                  <a:schemeClr val="tx1"/>
                </a:solidFill>
                <a:latin typeface="+mn-lt"/>
                <a:ea typeface="Bebas Neue" charset="0"/>
                <a:cs typeface="Chronicle Display Black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atural Language Processing and Classification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sing </a:t>
            </a:r>
            <a:r>
              <a:rPr lang="en-US" sz="4800" dirty="0">
                <a:solidFill>
                  <a:srgbClr val="0076A8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ubreddit Communities </a:t>
            </a:r>
            <a:r>
              <a:rPr lang="en-US" sz="48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 Optimize Engagement with Consumers</a:t>
            </a:r>
            <a:endParaRPr kumimoji="0" lang="en-US" sz="1000" i="0" u="none" strike="noStrike" kern="1200" cap="none" spc="30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37C2247-91E3-4374-80F3-2158B1F79D2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5200" y="5591180"/>
            <a:ext cx="7170506" cy="505645"/>
          </a:xfrm>
        </p:spPr>
        <p:txBody>
          <a:bodyPr/>
          <a:lstStyle/>
          <a:p>
            <a:r>
              <a:rPr lang="en-US" sz="2400" b="1" dirty="0"/>
              <a:t>Farah Malik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2BB208-9482-4754-BBCF-5061E1F6B0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5200" y="6108699"/>
            <a:ext cx="5594349" cy="298451"/>
          </a:xfrm>
        </p:spPr>
        <p:txBody>
          <a:bodyPr/>
          <a:lstStyle/>
          <a:p>
            <a:r>
              <a:rPr lang="en-US" sz="1800" dirty="0"/>
              <a:t>Project 3</a:t>
            </a:r>
            <a:endParaRPr lang="en-US" sz="1600" dirty="0"/>
          </a:p>
          <a:p>
            <a:r>
              <a:rPr lang="en-US" sz="1600" dirty="0"/>
              <a:t>June 2023</a:t>
            </a:r>
            <a:endParaRPr lang="en-US" sz="18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256233B-A772-D159-3D78-4A6E57E158E0}"/>
              </a:ext>
            </a:extLst>
          </p:cNvPr>
          <p:cNvSpPr/>
          <p:nvPr/>
        </p:nvSpPr>
        <p:spPr bwMode="gray">
          <a:xfrm>
            <a:off x="1314450" y="1581293"/>
            <a:ext cx="9563100" cy="3290978"/>
          </a:xfrm>
          <a:prstGeom prst="rect">
            <a:avLst/>
          </a:prstGeom>
          <a:noFill/>
          <a:ln w="28575" algn="ctr">
            <a:solidFill>
              <a:schemeClr val="bg1"/>
            </a:solidFill>
            <a:miter lim="800000"/>
            <a:headEnd/>
            <a:tailEnd/>
            <a:extLst>
              <a:ext uri="{C807C97D-BFC1-408E-A445-0C87EB9F89A2}">
                <ask:lineSketchStyleProps xmlns:ask="http://schemas.microsoft.com/office/drawing/2018/sketchyshapes" sd="981765707">
                  <a:custGeom>
                    <a:avLst/>
                    <a:gdLst>
                      <a:gd name="connsiteX0" fmla="*/ 0 w 9563100"/>
                      <a:gd name="connsiteY0" fmla="*/ 0 h 3143250"/>
                      <a:gd name="connsiteX1" fmla="*/ 788956 w 9563100"/>
                      <a:gd name="connsiteY1" fmla="*/ 0 h 3143250"/>
                      <a:gd name="connsiteX2" fmla="*/ 1386650 w 9563100"/>
                      <a:gd name="connsiteY2" fmla="*/ 0 h 3143250"/>
                      <a:gd name="connsiteX3" fmla="*/ 1793081 w 9563100"/>
                      <a:gd name="connsiteY3" fmla="*/ 0 h 3143250"/>
                      <a:gd name="connsiteX4" fmla="*/ 2390775 w 9563100"/>
                      <a:gd name="connsiteY4" fmla="*/ 0 h 3143250"/>
                      <a:gd name="connsiteX5" fmla="*/ 3179731 w 9563100"/>
                      <a:gd name="connsiteY5" fmla="*/ 0 h 3143250"/>
                      <a:gd name="connsiteX6" fmla="*/ 3586163 w 9563100"/>
                      <a:gd name="connsiteY6" fmla="*/ 0 h 3143250"/>
                      <a:gd name="connsiteX7" fmla="*/ 3896963 w 9563100"/>
                      <a:gd name="connsiteY7" fmla="*/ 0 h 3143250"/>
                      <a:gd name="connsiteX8" fmla="*/ 4494657 w 9563100"/>
                      <a:gd name="connsiteY8" fmla="*/ 0 h 3143250"/>
                      <a:gd name="connsiteX9" fmla="*/ 5092351 w 9563100"/>
                      <a:gd name="connsiteY9" fmla="*/ 0 h 3143250"/>
                      <a:gd name="connsiteX10" fmla="*/ 5785676 w 9563100"/>
                      <a:gd name="connsiteY10" fmla="*/ 0 h 3143250"/>
                      <a:gd name="connsiteX11" fmla="*/ 6287738 w 9563100"/>
                      <a:gd name="connsiteY11" fmla="*/ 0 h 3143250"/>
                      <a:gd name="connsiteX12" fmla="*/ 6598539 w 9563100"/>
                      <a:gd name="connsiteY12" fmla="*/ 0 h 3143250"/>
                      <a:gd name="connsiteX13" fmla="*/ 7004971 w 9563100"/>
                      <a:gd name="connsiteY13" fmla="*/ 0 h 3143250"/>
                      <a:gd name="connsiteX14" fmla="*/ 7793926 w 9563100"/>
                      <a:gd name="connsiteY14" fmla="*/ 0 h 3143250"/>
                      <a:gd name="connsiteX15" fmla="*/ 8200358 w 9563100"/>
                      <a:gd name="connsiteY15" fmla="*/ 0 h 3143250"/>
                      <a:gd name="connsiteX16" fmla="*/ 8606790 w 9563100"/>
                      <a:gd name="connsiteY16" fmla="*/ 0 h 3143250"/>
                      <a:gd name="connsiteX17" fmla="*/ 9013222 w 9563100"/>
                      <a:gd name="connsiteY17" fmla="*/ 0 h 3143250"/>
                      <a:gd name="connsiteX18" fmla="*/ 9563100 w 9563100"/>
                      <a:gd name="connsiteY18" fmla="*/ 0 h 3143250"/>
                      <a:gd name="connsiteX19" fmla="*/ 9563100 w 9563100"/>
                      <a:gd name="connsiteY19" fmla="*/ 555308 h 3143250"/>
                      <a:gd name="connsiteX20" fmla="*/ 9563100 w 9563100"/>
                      <a:gd name="connsiteY20" fmla="*/ 1016318 h 3143250"/>
                      <a:gd name="connsiteX21" fmla="*/ 9563100 w 9563100"/>
                      <a:gd name="connsiteY21" fmla="*/ 1508760 h 3143250"/>
                      <a:gd name="connsiteX22" fmla="*/ 9563100 w 9563100"/>
                      <a:gd name="connsiteY22" fmla="*/ 2032635 h 3143250"/>
                      <a:gd name="connsiteX23" fmla="*/ 9563100 w 9563100"/>
                      <a:gd name="connsiteY23" fmla="*/ 2587942 h 3143250"/>
                      <a:gd name="connsiteX24" fmla="*/ 9563100 w 9563100"/>
                      <a:gd name="connsiteY24" fmla="*/ 3143250 h 3143250"/>
                      <a:gd name="connsiteX25" fmla="*/ 8965406 w 9563100"/>
                      <a:gd name="connsiteY25" fmla="*/ 3143250 h 3143250"/>
                      <a:gd name="connsiteX26" fmla="*/ 8176451 w 9563100"/>
                      <a:gd name="connsiteY26" fmla="*/ 3143250 h 3143250"/>
                      <a:gd name="connsiteX27" fmla="*/ 7865650 w 9563100"/>
                      <a:gd name="connsiteY27" fmla="*/ 3143250 h 3143250"/>
                      <a:gd name="connsiteX28" fmla="*/ 7554849 w 9563100"/>
                      <a:gd name="connsiteY28" fmla="*/ 3143250 h 3143250"/>
                      <a:gd name="connsiteX29" fmla="*/ 7052786 w 9563100"/>
                      <a:gd name="connsiteY29" fmla="*/ 3143250 h 3143250"/>
                      <a:gd name="connsiteX30" fmla="*/ 6455093 w 9563100"/>
                      <a:gd name="connsiteY30" fmla="*/ 3143250 h 3143250"/>
                      <a:gd name="connsiteX31" fmla="*/ 5953030 w 9563100"/>
                      <a:gd name="connsiteY31" fmla="*/ 3143250 h 3143250"/>
                      <a:gd name="connsiteX32" fmla="*/ 5259705 w 9563100"/>
                      <a:gd name="connsiteY32" fmla="*/ 3143250 h 3143250"/>
                      <a:gd name="connsiteX33" fmla="*/ 4470749 w 9563100"/>
                      <a:gd name="connsiteY33" fmla="*/ 3143250 h 3143250"/>
                      <a:gd name="connsiteX34" fmla="*/ 3873056 w 9563100"/>
                      <a:gd name="connsiteY34" fmla="*/ 3143250 h 3143250"/>
                      <a:gd name="connsiteX35" fmla="*/ 3370993 w 9563100"/>
                      <a:gd name="connsiteY35" fmla="*/ 3143250 h 3143250"/>
                      <a:gd name="connsiteX36" fmla="*/ 2582037 w 9563100"/>
                      <a:gd name="connsiteY36" fmla="*/ 3143250 h 3143250"/>
                      <a:gd name="connsiteX37" fmla="*/ 1888712 w 9563100"/>
                      <a:gd name="connsiteY37" fmla="*/ 3143250 h 3143250"/>
                      <a:gd name="connsiteX38" fmla="*/ 1195388 w 9563100"/>
                      <a:gd name="connsiteY38" fmla="*/ 3143250 h 3143250"/>
                      <a:gd name="connsiteX39" fmla="*/ 788956 w 9563100"/>
                      <a:gd name="connsiteY39" fmla="*/ 3143250 h 3143250"/>
                      <a:gd name="connsiteX40" fmla="*/ 0 w 9563100"/>
                      <a:gd name="connsiteY40" fmla="*/ 3143250 h 3143250"/>
                      <a:gd name="connsiteX41" fmla="*/ 0 w 9563100"/>
                      <a:gd name="connsiteY41" fmla="*/ 2587943 h 3143250"/>
                      <a:gd name="connsiteX42" fmla="*/ 0 w 9563100"/>
                      <a:gd name="connsiteY42" fmla="*/ 2032635 h 3143250"/>
                      <a:gd name="connsiteX43" fmla="*/ 0 w 9563100"/>
                      <a:gd name="connsiteY43" fmla="*/ 1603058 h 3143250"/>
                      <a:gd name="connsiteX44" fmla="*/ 0 w 9563100"/>
                      <a:gd name="connsiteY44" fmla="*/ 1173480 h 3143250"/>
                      <a:gd name="connsiteX45" fmla="*/ 0 w 9563100"/>
                      <a:gd name="connsiteY45" fmla="*/ 743902 h 3143250"/>
                      <a:gd name="connsiteX46" fmla="*/ 0 w 9563100"/>
                      <a:gd name="connsiteY46" fmla="*/ 0 h 31432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</a:cxnLst>
                    <a:rect l="l" t="t" r="r" b="b"/>
                    <a:pathLst>
                      <a:path w="9563100" h="3143250" extrusionOk="0">
                        <a:moveTo>
                          <a:pt x="0" y="0"/>
                        </a:moveTo>
                        <a:cubicBezTo>
                          <a:pt x="320377" y="-93615"/>
                          <a:pt x="531339" y="53272"/>
                          <a:pt x="788956" y="0"/>
                        </a:cubicBezTo>
                        <a:cubicBezTo>
                          <a:pt x="1046573" y="-53272"/>
                          <a:pt x="1181801" y="63790"/>
                          <a:pt x="1386650" y="0"/>
                        </a:cubicBezTo>
                        <a:cubicBezTo>
                          <a:pt x="1591499" y="-63790"/>
                          <a:pt x="1695799" y="11302"/>
                          <a:pt x="1793081" y="0"/>
                        </a:cubicBezTo>
                        <a:cubicBezTo>
                          <a:pt x="1890363" y="-11302"/>
                          <a:pt x="2261123" y="28686"/>
                          <a:pt x="2390775" y="0"/>
                        </a:cubicBezTo>
                        <a:cubicBezTo>
                          <a:pt x="2520427" y="-28686"/>
                          <a:pt x="2992850" y="47969"/>
                          <a:pt x="3179731" y="0"/>
                        </a:cubicBezTo>
                        <a:cubicBezTo>
                          <a:pt x="3366612" y="-47969"/>
                          <a:pt x="3391537" y="25626"/>
                          <a:pt x="3586163" y="0"/>
                        </a:cubicBezTo>
                        <a:cubicBezTo>
                          <a:pt x="3780789" y="-25626"/>
                          <a:pt x="3819471" y="27150"/>
                          <a:pt x="3896963" y="0"/>
                        </a:cubicBezTo>
                        <a:cubicBezTo>
                          <a:pt x="3974455" y="-27150"/>
                          <a:pt x="4277994" y="63843"/>
                          <a:pt x="4494657" y="0"/>
                        </a:cubicBezTo>
                        <a:cubicBezTo>
                          <a:pt x="4711320" y="-63843"/>
                          <a:pt x="4905085" y="65783"/>
                          <a:pt x="5092351" y="0"/>
                        </a:cubicBezTo>
                        <a:cubicBezTo>
                          <a:pt x="5279617" y="-65783"/>
                          <a:pt x="5473923" y="77041"/>
                          <a:pt x="5785676" y="0"/>
                        </a:cubicBezTo>
                        <a:cubicBezTo>
                          <a:pt x="6097429" y="-77041"/>
                          <a:pt x="6136535" y="39066"/>
                          <a:pt x="6287738" y="0"/>
                        </a:cubicBezTo>
                        <a:cubicBezTo>
                          <a:pt x="6438941" y="-39066"/>
                          <a:pt x="6443988" y="31264"/>
                          <a:pt x="6598539" y="0"/>
                        </a:cubicBezTo>
                        <a:cubicBezTo>
                          <a:pt x="6753090" y="-31264"/>
                          <a:pt x="6820035" y="27843"/>
                          <a:pt x="7004971" y="0"/>
                        </a:cubicBezTo>
                        <a:cubicBezTo>
                          <a:pt x="7189907" y="-27843"/>
                          <a:pt x="7624465" y="52116"/>
                          <a:pt x="7793926" y="0"/>
                        </a:cubicBezTo>
                        <a:cubicBezTo>
                          <a:pt x="7963387" y="-52116"/>
                          <a:pt x="8010220" y="34825"/>
                          <a:pt x="8200358" y="0"/>
                        </a:cubicBezTo>
                        <a:cubicBezTo>
                          <a:pt x="8390496" y="-34825"/>
                          <a:pt x="8469477" y="1321"/>
                          <a:pt x="8606790" y="0"/>
                        </a:cubicBezTo>
                        <a:cubicBezTo>
                          <a:pt x="8744103" y="-1321"/>
                          <a:pt x="8902899" y="31117"/>
                          <a:pt x="9013222" y="0"/>
                        </a:cubicBezTo>
                        <a:cubicBezTo>
                          <a:pt x="9123545" y="-31117"/>
                          <a:pt x="9384717" y="17621"/>
                          <a:pt x="9563100" y="0"/>
                        </a:cubicBezTo>
                        <a:cubicBezTo>
                          <a:pt x="9615110" y="142672"/>
                          <a:pt x="9553315" y="299551"/>
                          <a:pt x="9563100" y="555308"/>
                        </a:cubicBezTo>
                        <a:cubicBezTo>
                          <a:pt x="9572885" y="811065"/>
                          <a:pt x="9527696" y="891124"/>
                          <a:pt x="9563100" y="1016318"/>
                        </a:cubicBezTo>
                        <a:cubicBezTo>
                          <a:pt x="9598504" y="1141512"/>
                          <a:pt x="9543929" y="1289488"/>
                          <a:pt x="9563100" y="1508760"/>
                        </a:cubicBezTo>
                        <a:cubicBezTo>
                          <a:pt x="9582271" y="1728032"/>
                          <a:pt x="9510157" y="1865250"/>
                          <a:pt x="9563100" y="2032635"/>
                        </a:cubicBezTo>
                        <a:cubicBezTo>
                          <a:pt x="9616043" y="2200020"/>
                          <a:pt x="9546357" y="2319633"/>
                          <a:pt x="9563100" y="2587942"/>
                        </a:cubicBezTo>
                        <a:cubicBezTo>
                          <a:pt x="9579843" y="2856251"/>
                          <a:pt x="9523273" y="2973834"/>
                          <a:pt x="9563100" y="3143250"/>
                        </a:cubicBezTo>
                        <a:cubicBezTo>
                          <a:pt x="9413470" y="3161182"/>
                          <a:pt x="9181565" y="3112032"/>
                          <a:pt x="8965406" y="3143250"/>
                        </a:cubicBezTo>
                        <a:cubicBezTo>
                          <a:pt x="8749247" y="3174468"/>
                          <a:pt x="8438182" y="3077267"/>
                          <a:pt x="8176451" y="3143250"/>
                        </a:cubicBezTo>
                        <a:cubicBezTo>
                          <a:pt x="7914721" y="3209233"/>
                          <a:pt x="7937414" y="3137188"/>
                          <a:pt x="7865650" y="3143250"/>
                        </a:cubicBezTo>
                        <a:cubicBezTo>
                          <a:pt x="7793886" y="3149312"/>
                          <a:pt x="7641855" y="3122081"/>
                          <a:pt x="7554849" y="3143250"/>
                        </a:cubicBezTo>
                        <a:cubicBezTo>
                          <a:pt x="7467843" y="3164419"/>
                          <a:pt x="7217851" y="3105708"/>
                          <a:pt x="7052786" y="3143250"/>
                        </a:cubicBezTo>
                        <a:cubicBezTo>
                          <a:pt x="6887721" y="3180792"/>
                          <a:pt x="6726565" y="3106418"/>
                          <a:pt x="6455093" y="3143250"/>
                        </a:cubicBezTo>
                        <a:cubicBezTo>
                          <a:pt x="6183621" y="3180082"/>
                          <a:pt x="6064175" y="3087487"/>
                          <a:pt x="5953030" y="3143250"/>
                        </a:cubicBezTo>
                        <a:cubicBezTo>
                          <a:pt x="5841885" y="3199013"/>
                          <a:pt x="5517407" y="3113944"/>
                          <a:pt x="5259705" y="3143250"/>
                        </a:cubicBezTo>
                        <a:cubicBezTo>
                          <a:pt x="5002003" y="3172556"/>
                          <a:pt x="4736587" y="3100899"/>
                          <a:pt x="4470749" y="3143250"/>
                        </a:cubicBezTo>
                        <a:cubicBezTo>
                          <a:pt x="4204911" y="3185601"/>
                          <a:pt x="4160980" y="3109154"/>
                          <a:pt x="3873056" y="3143250"/>
                        </a:cubicBezTo>
                        <a:cubicBezTo>
                          <a:pt x="3585132" y="3177346"/>
                          <a:pt x="3511460" y="3092209"/>
                          <a:pt x="3370993" y="3143250"/>
                        </a:cubicBezTo>
                        <a:cubicBezTo>
                          <a:pt x="3230526" y="3194291"/>
                          <a:pt x="2825456" y="3142151"/>
                          <a:pt x="2582037" y="3143250"/>
                        </a:cubicBezTo>
                        <a:cubicBezTo>
                          <a:pt x="2338618" y="3144349"/>
                          <a:pt x="2200611" y="3073474"/>
                          <a:pt x="1888712" y="3143250"/>
                        </a:cubicBezTo>
                        <a:cubicBezTo>
                          <a:pt x="1576813" y="3213026"/>
                          <a:pt x="1394220" y="3100446"/>
                          <a:pt x="1195388" y="3143250"/>
                        </a:cubicBezTo>
                        <a:cubicBezTo>
                          <a:pt x="996556" y="3186054"/>
                          <a:pt x="925336" y="3106821"/>
                          <a:pt x="788956" y="3143250"/>
                        </a:cubicBezTo>
                        <a:cubicBezTo>
                          <a:pt x="652576" y="3179679"/>
                          <a:pt x="280241" y="3049110"/>
                          <a:pt x="0" y="3143250"/>
                        </a:cubicBezTo>
                        <a:cubicBezTo>
                          <a:pt x="-28898" y="2890612"/>
                          <a:pt x="49161" y="2822371"/>
                          <a:pt x="0" y="2587943"/>
                        </a:cubicBezTo>
                        <a:cubicBezTo>
                          <a:pt x="-49161" y="2353515"/>
                          <a:pt x="15627" y="2305135"/>
                          <a:pt x="0" y="2032635"/>
                        </a:cubicBezTo>
                        <a:cubicBezTo>
                          <a:pt x="-15627" y="1760135"/>
                          <a:pt x="22476" y="1799272"/>
                          <a:pt x="0" y="1603058"/>
                        </a:cubicBezTo>
                        <a:cubicBezTo>
                          <a:pt x="-22476" y="1406844"/>
                          <a:pt x="43933" y="1320459"/>
                          <a:pt x="0" y="1173480"/>
                        </a:cubicBezTo>
                        <a:cubicBezTo>
                          <a:pt x="-43933" y="1026501"/>
                          <a:pt x="21787" y="874421"/>
                          <a:pt x="0" y="743902"/>
                        </a:cubicBezTo>
                        <a:cubicBezTo>
                          <a:pt x="-21787" y="613383"/>
                          <a:pt x="17741" y="29270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D325426-3699-7DED-7F98-B30F81E4FC39}"/>
              </a:ext>
            </a:extLst>
          </p:cNvPr>
          <p:cNvCxnSpPr>
            <a:cxnSpLocks/>
          </p:cNvCxnSpPr>
          <p:nvPr/>
        </p:nvCxnSpPr>
        <p:spPr>
          <a:xfrm flipV="1">
            <a:off x="2025678" y="3013793"/>
            <a:ext cx="813816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89CE755B-A80A-1E84-CAEF-ABECBCAC8EEE}"/>
              </a:ext>
            </a:extLst>
          </p:cNvPr>
          <p:cNvGrpSpPr/>
          <p:nvPr/>
        </p:nvGrpSpPr>
        <p:grpSpPr>
          <a:xfrm>
            <a:off x="10877550" y="121583"/>
            <a:ext cx="1171575" cy="882651"/>
            <a:chOff x="3997325" y="3675063"/>
            <a:chExt cx="1171575" cy="882651"/>
          </a:xfrm>
        </p:grpSpPr>
        <p:sp>
          <p:nvSpPr>
            <p:cNvPr id="6" name="Freeform 89">
              <a:extLst>
                <a:ext uri="{FF2B5EF4-FFF2-40B4-BE49-F238E27FC236}">
                  <a16:creationId xmlns:a16="http://schemas.microsoft.com/office/drawing/2014/main" id="{85D0ADB3-0E78-2AA9-D9F6-5DDEE9C842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44988" y="3675063"/>
              <a:ext cx="476250" cy="271463"/>
            </a:xfrm>
            <a:custGeom>
              <a:avLst/>
              <a:gdLst>
                <a:gd name="T0" fmla="*/ 91 w 183"/>
                <a:gd name="T1" fmla="*/ 0 h 104"/>
                <a:gd name="T2" fmla="*/ 0 w 183"/>
                <a:gd name="T3" fmla="*/ 52 h 104"/>
                <a:gd name="T4" fmla="*/ 91 w 183"/>
                <a:gd name="T5" fmla="*/ 104 h 104"/>
                <a:gd name="T6" fmla="*/ 183 w 183"/>
                <a:gd name="T7" fmla="*/ 52 h 104"/>
                <a:gd name="T8" fmla="*/ 91 w 183"/>
                <a:gd name="T9" fmla="*/ 0 h 104"/>
                <a:gd name="T10" fmla="*/ 99 w 183"/>
                <a:gd name="T11" fmla="*/ 84 h 104"/>
                <a:gd name="T12" fmla="*/ 81 w 183"/>
                <a:gd name="T13" fmla="*/ 84 h 104"/>
                <a:gd name="T14" fmla="*/ 81 w 183"/>
                <a:gd name="T15" fmla="*/ 69 h 104"/>
                <a:gd name="T16" fmla="*/ 99 w 183"/>
                <a:gd name="T17" fmla="*/ 69 h 104"/>
                <a:gd name="T18" fmla="*/ 99 w 183"/>
                <a:gd name="T19" fmla="*/ 84 h 104"/>
                <a:gd name="T20" fmla="*/ 105 w 183"/>
                <a:gd name="T21" fmla="*/ 53 h 104"/>
                <a:gd name="T22" fmla="*/ 99 w 183"/>
                <a:gd name="T23" fmla="*/ 59 h 104"/>
                <a:gd name="T24" fmla="*/ 98 w 183"/>
                <a:gd name="T25" fmla="*/ 64 h 104"/>
                <a:gd name="T26" fmla="*/ 82 w 183"/>
                <a:gd name="T27" fmla="*/ 64 h 104"/>
                <a:gd name="T28" fmla="*/ 82 w 183"/>
                <a:gd name="T29" fmla="*/ 63 h 104"/>
                <a:gd name="T30" fmla="*/ 83 w 183"/>
                <a:gd name="T31" fmla="*/ 56 h 104"/>
                <a:gd name="T32" fmla="*/ 86 w 183"/>
                <a:gd name="T33" fmla="*/ 51 h 104"/>
                <a:gd name="T34" fmla="*/ 94 w 183"/>
                <a:gd name="T35" fmla="*/ 44 h 104"/>
                <a:gd name="T36" fmla="*/ 98 w 183"/>
                <a:gd name="T37" fmla="*/ 38 h 104"/>
                <a:gd name="T38" fmla="*/ 96 w 183"/>
                <a:gd name="T39" fmla="*/ 35 h 104"/>
                <a:gd name="T40" fmla="*/ 92 w 183"/>
                <a:gd name="T41" fmla="*/ 33 h 104"/>
                <a:gd name="T42" fmla="*/ 87 w 183"/>
                <a:gd name="T43" fmla="*/ 35 h 104"/>
                <a:gd name="T44" fmla="*/ 84 w 183"/>
                <a:gd name="T45" fmla="*/ 42 h 104"/>
                <a:gd name="T46" fmla="*/ 68 w 183"/>
                <a:gd name="T47" fmla="*/ 40 h 104"/>
                <a:gd name="T48" fmla="*/ 74 w 183"/>
                <a:gd name="T49" fmla="*/ 26 h 104"/>
                <a:gd name="T50" fmla="*/ 92 w 183"/>
                <a:gd name="T51" fmla="*/ 20 h 104"/>
                <a:gd name="T52" fmla="*/ 107 w 183"/>
                <a:gd name="T53" fmla="*/ 24 h 104"/>
                <a:gd name="T54" fmla="*/ 115 w 183"/>
                <a:gd name="T55" fmla="*/ 38 h 104"/>
                <a:gd name="T56" fmla="*/ 113 w 183"/>
                <a:gd name="T57" fmla="*/ 45 h 104"/>
                <a:gd name="T58" fmla="*/ 105 w 183"/>
                <a:gd name="T59" fmla="*/ 53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3" h="104">
                  <a:moveTo>
                    <a:pt x="91" y="0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183" y="52"/>
                    <a:pt x="183" y="52"/>
                    <a:pt x="183" y="52"/>
                  </a:cubicBezTo>
                  <a:lnTo>
                    <a:pt x="91" y="0"/>
                  </a:lnTo>
                  <a:close/>
                  <a:moveTo>
                    <a:pt x="99" y="84"/>
                  </a:moveTo>
                  <a:cubicBezTo>
                    <a:pt x="81" y="84"/>
                    <a:pt x="81" y="84"/>
                    <a:pt x="81" y="84"/>
                  </a:cubicBezTo>
                  <a:cubicBezTo>
                    <a:pt x="81" y="69"/>
                    <a:pt x="81" y="69"/>
                    <a:pt x="81" y="69"/>
                  </a:cubicBezTo>
                  <a:cubicBezTo>
                    <a:pt x="99" y="69"/>
                    <a:pt x="99" y="69"/>
                    <a:pt x="99" y="69"/>
                  </a:cubicBezTo>
                  <a:lnTo>
                    <a:pt x="99" y="84"/>
                  </a:lnTo>
                  <a:close/>
                  <a:moveTo>
                    <a:pt x="105" y="53"/>
                  </a:moveTo>
                  <a:cubicBezTo>
                    <a:pt x="102" y="56"/>
                    <a:pt x="100" y="57"/>
                    <a:pt x="99" y="59"/>
                  </a:cubicBezTo>
                  <a:cubicBezTo>
                    <a:pt x="99" y="60"/>
                    <a:pt x="98" y="62"/>
                    <a:pt x="98" y="64"/>
                  </a:cubicBezTo>
                  <a:cubicBezTo>
                    <a:pt x="82" y="64"/>
                    <a:pt x="82" y="64"/>
                    <a:pt x="82" y="64"/>
                  </a:cubicBezTo>
                  <a:cubicBezTo>
                    <a:pt x="82" y="63"/>
                    <a:pt x="82" y="63"/>
                    <a:pt x="82" y="63"/>
                  </a:cubicBezTo>
                  <a:cubicBezTo>
                    <a:pt x="82" y="60"/>
                    <a:pt x="82" y="58"/>
                    <a:pt x="83" y="56"/>
                  </a:cubicBezTo>
                  <a:cubicBezTo>
                    <a:pt x="83" y="54"/>
                    <a:pt x="84" y="53"/>
                    <a:pt x="86" y="51"/>
                  </a:cubicBezTo>
                  <a:cubicBezTo>
                    <a:pt x="87" y="50"/>
                    <a:pt x="90" y="47"/>
                    <a:pt x="94" y="44"/>
                  </a:cubicBezTo>
                  <a:cubicBezTo>
                    <a:pt x="96" y="42"/>
                    <a:pt x="98" y="40"/>
                    <a:pt x="98" y="38"/>
                  </a:cubicBezTo>
                  <a:cubicBezTo>
                    <a:pt x="98" y="37"/>
                    <a:pt x="97" y="36"/>
                    <a:pt x="96" y="35"/>
                  </a:cubicBezTo>
                  <a:cubicBezTo>
                    <a:pt x="95" y="34"/>
                    <a:pt x="94" y="33"/>
                    <a:pt x="92" y="33"/>
                  </a:cubicBezTo>
                  <a:cubicBezTo>
                    <a:pt x="90" y="33"/>
                    <a:pt x="88" y="34"/>
                    <a:pt x="87" y="35"/>
                  </a:cubicBezTo>
                  <a:cubicBezTo>
                    <a:pt x="85" y="37"/>
                    <a:pt x="85" y="39"/>
                    <a:pt x="84" y="42"/>
                  </a:cubicBezTo>
                  <a:cubicBezTo>
                    <a:pt x="68" y="40"/>
                    <a:pt x="68" y="40"/>
                    <a:pt x="68" y="40"/>
                  </a:cubicBezTo>
                  <a:cubicBezTo>
                    <a:pt x="68" y="34"/>
                    <a:pt x="70" y="29"/>
                    <a:pt x="74" y="26"/>
                  </a:cubicBezTo>
                  <a:cubicBezTo>
                    <a:pt x="78" y="22"/>
                    <a:pt x="84" y="20"/>
                    <a:pt x="92" y="20"/>
                  </a:cubicBezTo>
                  <a:cubicBezTo>
                    <a:pt x="98" y="20"/>
                    <a:pt x="103" y="21"/>
                    <a:pt x="107" y="24"/>
                  </a:cubicBezTo>
                  <a:cubicBezTo>
                    <a:pt x="112" y="27"/>
                    <a:pt x="115" y="32"/>
                    <a:pt x="115" y="38"/>
                  </a:cubicBezTo>
                  <a:cubicBezTo>
                    <a:pt x="115" y="40"/>
                    <a:pt x="114" y="43"/>
                    <a:pt x="113" y="45"/>
                  </a:cubicBezTo>
                  <a:cubicBezTo>
                    <a:pt x="112" y="47"/>
                    <a:pt x="109" y="50"/>
                    <a:pt x="105" y="53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90">
              <a:extLst>
                <a:ext uri="{FF2B5EF4-FFF2-40B4-BE49-F238E27FC236}">
                  <a16:creationId xmlns:a16="http://schemas.microsoft.com/office/drawing/2014/main" id="{5B111172-BEAD-05FD-9414-2D4268850C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7663" y="3797301"/>
              <a:ext cx="174625" cy="149225"/>
            </a:xfrm>
            <a:custGeom>
              <a:avLst/>
              <a:gdLst>
                <a:gd name="T0" fmla="*/ 110 w 110"/>
                <a:gd name="T1" fmla="*/ 23 h 94"/>
                <a:gd name="T2" fmla="*/ 36 w 110"/>
                <a:gd name="T3" fmla="*/ 23 h 94"/>
                <a:gd name="T4" fmla="*/ 36 w 110"/>
                <a:gd name="T5" fmla="*/ 71 h 94"/>
                <a:gd name="T6" fmla="*/ 48 w 110"/>
                <a:gd name="T7" fmla="*/ 71 h 94"/>
                <a:gd name="T8" fmla="*/ 23 w 110"/>
                <a:gd name="T9" fmla="*/ 94 h 94"/>
                <a:gd name="T10" fmla="*/ 0 w 110"/>
                <a:gd name="T11" fmla="*/ 71 h 94"/>
                <a:gd name="T12" fmla="*/ 12 w 110"/>
                <a:gd name="T13" fmla="*/ 71 h 94"/>
                <a:gd name="T14" fmla="*/ 12 w 110"/>
                <a:gd name="T15" fmla="*/ 0 h 94"/>
                <a:gd name="T16" fmla="*/ 110 w 110"/>
                <a:gd name="T17" fmla="*/ 0 h 94"/>
                <a:gd name="T18" fmla="*/ 110 w 110"/>
                <a:gd name="T19" fmla="*/ 23 h 94"/>
                <a:gd name="T20" fmla="*/ 110 w 110"/>
                <a:gd name="T21" fmla="*/ 23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0" h="94">
                  <a:moveTo>
                    <a:pt x="110" y="23"/>
                  </a:moveTo>
                  <a:lnTo>
                    <a:pt x="36" y="23"/>
                  </a:lnTo>
                  <a:lnTo>
                    <a:pt x="36" y="71"/>
                  </a:lnTo>
                  <a:lnTo>
                    <a:pt x="48" y="71"/>
                  </a:lnTo>
                  <a:lnTo>
                    <a:pt x="23" y="94"/>
                  </a:lnTo>
                  <a:lnTo>
                    <a:pt x="0" y="71"/>
                  </a:lnTo>
                  <a:lnTo>
                    <a:pt x="12" y="71"/>
                  </a:lnTo>
                  <a:lnTo>
                    <a:pt x="12" y="0"/>
                  </a:lnTo>
                  <a:lnTo>
                    <a:pt x="110" y="0"/>
                  </a:lnTo>
                  <a:lnTo>
                    <a:pt x="110" y="23"/>
                  </a:lnTo>
                  <a:lnTo>
                    <a:pt x="110" y="23"/>
                  </a:ln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91">
              <a:extLst>
                <a:ext uri="{FF2B5EF4-FFF2-40B4-BE49-F238E27FC236}">
                  <a16:creationId xmlns:a16="http://schemas.microsoft.com/office/drawing/2014/main" id="{2B2A9692-C300-E303-9DD9-F64F3723EE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5525" y="3797301"/>
              <a:ext cx="174625" cy="149225"/>
            </a:xfrm>
            <a:custGeom>
              <a:avLst/>
              <a:gdLst>
                <a:gd name="T0" fmla="*/ 0 w 110"/>
                <a:gd name="T1" fmla="*/ 23 h 94"/>
                <a:gd name="T2" fmla="*/ 73 w 110"/>
                <a:gd name="T3" fmla="*/ 23 h 94"/>
                <a:gd name="T4" fmla="*/ 73 w 110"/>
                <a:gd name="T5" fmla="*/ 71 h 94"/>
                <a:gd name="T6" fmla="*/ 62 w 110"/>
                <a:gd name="T7" fmla="*/ 71 h 94"/>
                <a:gd name="T8" fmla="*/ 85 w 110"/>
                <a:gd name="T9" fmla="*/ 94 h 94"/>
                <a:gd name="T10" fmla="*/ 110 w 110"/>
                <a:gd name="T11" fmla="*/ 71 h 94"/>
                <a:gd name="T12" fmla="*/ 96 w 110"/>
                <a:gd name="T13" fmla="*/ 71 h 94"/>
                <a:gd name="T14" fmla="*/ 96 w 110"/>
                <a:gd name="T15" fmla="*/ 0 h 94"/>
                <a:gd name="T16" fmla="*/ 0 w 110"/>
                <a:gd name="T17" fmla="*/ 0 h 94"/>
                <a:gd name="T18" fmla="*/ 0 w 110"/>
                <a:gd name="T19" fmla="*/ 23 h 94"/>
                <a:gd name="T20" fmla="*/ 0 w 110"/>
                <a:gd name="T21" fmla="*/ 23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0" h="94">
                  <a:moveTo>
                    <a:pt x="0" y="23"/>
                  </a:moveTo>
                  <a:lnTo>
                    <a:pt x="73" y="23"/>
                  </a:lnTo>
                  <a:lnTo>
                    <a:pt x="73" y="71"/>
                  </a:lnTo>
                  <a:lnTo>
                    <a:pt x="62" y="71"/>
                  </a:lnTo>
                  <a:lnTo>
                    <a:pt x="85" y="94"/>
                  </a:lnTo>
                  <a:lnTo>
                    <a:pt x="110" y="71"/>
                  </a:lnTo>
                  <a:lnTo>
                    <a:pt x="96" y="71"/>
                  </a:lnTo>
                  <a:lnTo>
                    <a:pt x="96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92">
              <a:extLst>
                <a:ext uri="{FF2B5EF4-FFF2-40B4-BE49-F238E27FC236}">
                  <a16:creationId xmlns:a16="http://schemas.microsoft.com/office/drawing/2014/main" id="{053D263E-D5C9-20A3-FC13-3A22E02C7D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97325" y="3963988"/>
              <a:ext cx="395288" cy="227013"/>
            </a:xfrm>
            <a:custGeom>
              <a:avLst/>
              <a:gdLst>
                <a:gd name="T0" fmla="*/ 0 w 249"/>
                <a:gd name="T1" fmla="*/ 0 h 143"/>
                <a:gd name="T2" fmla="*/ 0 w 249"/>
                <a:gd name="T3" fmla="*/ 143 h 143"/>
                <a:gd name="T4" fmla="*/ 249 w 249"/>
                <a:gd name="T5" fmla="*/ 143 h 143"/>
                <a:gd name="T6" fmla="*/ 249 w 249"/>
                <a:gd name="T7" fmla="*/ 0 h 143"/>
                <a:gd name="T8" fmla="*/ 0 w 249"/>
                <a:gd name="T9" fmla="*/ 0 h 143"/>
                <a:gd name="T10" fmla="*/ 142 w 249"/>
                <a:gd name="T11" fmla="*/ 120 h 143"/>
                <a:gd name="T12" fmla="*/ 124 w 249"/>
                <a:gd name="T13" fmla="*/ 89 h 143"/>
                <a:gd name="T14" fmla="*/ 106 w 249"/>
                <a:gd name="T15" fmla="*/ 120 h 143"/>
                <a:gd name="T16" fmla="*/ 72 w 249"/>
                <a:gd name="T17" fmla="*/ 120 h 143"/>
                <a:gd name="T18" fmla="*/ 105 w 249"/>
                <a:gd name="T19" fmla="*/ 69 h 143"/>
                <a:gd name="T20" fmla="*/ 75 w 249"/>
                <a:gd name="T21" fmla="*/ 23 h 143"/>
                <a:gd name="T22" fmla="*/ 108 w 249"/>
                <a:gd name="T23" fmla="*/ 23 h 143"/>
                <a:gd name="T24" fmla="*/ 124 w 249"/>
                <a:gd name="T25" fmla="*/ 53 h 143"/>
                <a:gd name="T26" fmla="*/ 141 w 249"/>
                <a:gd name="T27" fmla="*/ 23 h 143"/>
                <a:gd name="T28" fmla="*/ 173 w 249"/>
                <a:gd name="T29" fmla="*/ 23 h 143"/>
                <a:gd name="T30" fmla="*/ 144 w 249"/>
                <a:gd name="T31" fmla="*/ 71 h 143"/>
                <a:gd name="T32" fmla="*/ 177 w 249"/>
                <a:gd name="T33" fmla="*/ 120 h 143"/>
                <a:gd name="T34" fmla="*/ 142 w 249"/>
                <a:gd name="T35" fmla="*/ 12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9" h="143">
                  <a:moveTo>
                    <a:pt x="0" y="0"/>
                  </a:moveTo>
                  <a:lnTo>
                    <a:pt x="0" y="143"/>
                  </a:lnTo>
                  <a:lnTo>
                    <a:pt x="249" y="143"/>
                  </a:lnTo>
                  <a:lnTo>
                    <a:pt x="249" y="0"/>
                  </a:lnTo>
                  <a:lnTo>
                    <a:pt x="0" y="0"/>
                  </a:lnTo>
                  <a:close/>
                  <a:moveTo>
                    <a:pt x="142" y="120"/>
                  </a:moveTo>
                  <a:lnTo>
                    <a:pt x="124" y="89"/>
                  </a:lnTo>
                  <a:lnTo>
                    <a:pt x="106" y="120"/>
                  </a:lnTo>
                  <a:lnTo>
                    <a:pt x="72" y="120"/>
                  </a:lnTo>
                  <a:lnTo>
                    <a:pt x="105" y="69"/>
                  </a:lnTo>
                  <a:lnTo>
                    <a:pt x="75" y="23"/>
                  </a:lnTo>
                  <a:lnTo>
                    <a:pt x="108" y="23"/>
                  </a:lnTo>
                  <a:lnTo>
                    <a:pt x="124" y="53"/>
                  </a:lnTo>
                  <a:lnTo>
                    <a:pt x="141" y="23"/>
                  </a:lnTo>
                  <a:lnTo>
                    <a:pt x="173" y="23"/>
                  </a:lnTo>
                  <a:lnTo>
                    <a:pt x="144" y="71"/>
                  </a:lnTo>
                  <a:lnTo>
                    <a:pt x="177" y="120"/>
                  </a:lnTo>
                  <a:lnTo>
                    <a:pt x="142" y="120"/>
                  </a:ln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93">
              <a:extLst>
                <a:ext uri="{FF2B5EF4-FFF2-40B4-BE49-F238E27FC236}">
                  <a16:creationId xmlns:a16="http://schemas.microsoft.com/office/drawing/2014/main" id="{39299F64-F0BC-87DC-C24F-A67EE159D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0775" y="4206876"/>
              <a:ext cx="76200" cy="111125"/>
            </a:xfrm>
            <a:custGeom>
              <a:avLst/>
              <a:gdLst>
                <a:gd name="T0" fmla="*/ 13 w 48"/>
                <a:gd name="T1" fmla="*/ 0 h 70"/>
                <a:gd name="T2" fmla="*/ 13 w 48"/>
                <a:gd name="T3" fmla="*/ 46 h 70"/>
                <a:gd name="T4" fmla="*/ 0 w 48"/>
                <a:gd name="T5" fmla="*/ 46 h 70"/>
                <a:gd name="T6" fmla="*/ 25 w 48"/>
                <a:gd name="T7" fmla="*/ 70 h 70"/>
                <a:gd name="T8" fmla="*/ 48 w 48"/>
                <a:gd name="T9" fmla="*/ 46 h 70"/>
                <a:gd name="T10" fmla="*/ 36 w 48"/>
                <a:gd name="T11" fmla="*/ 46 h 70"/>
                <a:gd name="T12" fmla="*/ 36 w 48"/>
                <a:gd name="T13" fmla="*/ 0 h 70"/>
                <a:gd name="T14" fmla="*/ 13 w 48"/>
                <a:gd name="T1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70">
                  <a:moveTo>
                    <a:pt x="13" y="0"/>
                  </a:moveTo>
                  <a:lnTo>
                    <a:pt x="13" y="46"/>
                  </a:lnTo>
                  <a:lnTo>
                    <a:pt x="0" y="46"/>
                  </a:lnTo>
                  <a:lnTo>
                    <a:pt x="25" y="70"/>
                  </a:lnTo>
                  <a:lnTo>
                    <a:pt x="48" y="46"/>
                  </a:lnTo>
                  <a:lnTo>
                    <a:pt x="36" y="46"/>
                  </a:lnTo>
                  <a:lnTo>
                    <a:pt x="36" y="0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94">
              <a:extLst>
                <a:ext uri="{FF2B5EF4-FFF2-40B4-BE49-F238E27FC236}">
                  <a16:creationId xmlns:a16="http://schemas.microsoft.com/office/drawing/2014/main" id="{01ECCA25-D2FD-A162-8E3E-6A63DE2E56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72025" y="3963988"/>
              <a:ext cx="396875" cy="227013"/>
            </a:xfrm>
            <a:custGeom>
              <a:avLst/>
              <a:gdLst>
                <a:gd name="T0" fmla="*/ 0 w 152"/>
                <a:gd name="T1" fmla="*/ 0 h 87"/>
                <a:gd name="T2" fmla="*/ 0 w 152"/>
                <a:gd name="T3" fmla="*/ 87 h 87"/>
                <a:gd name="T4" fmla="*/ 152 w 152"/>
                <a:gd name="T5" fmla="*/ 87 h 87"/>
                <a:gd name="T6" fmla="*/ 152 w 152"/>
                <a:gd name="T7" fmla="*/ 0 h 87"/>
                <a:gd name="T8" fmla="*/ 0 w 152"/>
                <a:gd name="T9" fmla="*/ 0 h 87"/>
                <a:gd name="T10" fmla="*/ 105 w 152"/>
                <a:gd name="T11" fmla="*/ 14 h 87"/>
                <a:gd name="T12" fmla="*/ 76 w 152"/>
                <a:gd name="T13" fmla="*/ 73 h 87"/>
                <a:gd name="T14" fmla="*/ 64 w 152"/>
                <a:gd name="T15" fmla="*/ 75 h 87"/>
                <a:gd name="T16" fmla="*/ 46 w 152"/>
                <a:gd name="T17" fmla="*/ 51 h 87"/>
                <a:gd name="T18" fmla="*/ 50 w 152"/>
                <a:gd name="T19" fmla="*/ 47 h 87"/>
                <a:gd name="T20" fmla="*/ 58 w 152"/>
                <a:gd name="T21" fmla="*/ 48 h 87"/>
                <a:gd name="T22" fmla="*/ 67 w 152"/>
                <a:gd name="T23" fmla="*/ 57 h 87"/>
                <a:gd name="T24" fmla="*/ 94 w 152"/>
                <a:gd name="T25" fmla="*/ 13 h 87"/>
                <a:gd name="T26" fmla="*/ 102 w 152"/>
                <a:gd name="T27" fmla="*/ 11 h 87"/>
                <a:gd name="T28" fmla="*/ 105 w 152"/>
                <a:gd name="T29" fmla="*/ 14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2" h="87">
                  <a:moveTo>
                    <a:pt x="0" y="0"/>
                  </a:moveTo>
                  <a:cubicBezTo>
                    <a:pt x="0" y="87"/>
                    <a:pt x="0" y="87"/>
                    <a:pt x="0" y="87"/>
                  </a:cubicBezTo>
                  <a:cubicBezTo>
                    <a:pt x="152" y="87"/>
                    <a:pt x="152" y="87"/>
                    <a:pt x="152" y="87"/>
                  </a:cubicBezTo>
                  <a:cubicBezTo>
                    <a:pt x="152" y="0"/>
                    <a:pt x="152" y="0"/>
                    <a:pt x="152" y="0"/>
                  </a:cubicBezTo>
                  <a:lnTo>
                    <a:pt x="0" y="0"/>
                  </a:lnTo>
                  <a:close/>
                  <a:moveTo>
                    <a:pt x="105" y="14"/>
                  </a:moveTo>
                  <a:cubicBezTo>
                    <a:pt x="89" y="28"/>
                    <a:pt x="79" y="52"/>
                    <a:pt x="76" y="73"/>
                  </a:cubicBezTo>
                  <a:cubicBezTo>
                    <a:pt x="76" y="76"/>
                    <a:pt x="65" y="78"/>
                    <a:pt x="64" y="75"/>
                  </a:cubicBezTo>
                  <a:cubicBezTo>
                    <a:pt x="59" y="67"/>
                    <a:pt x="54" y="57"/>
                    <a:pt x="46" y="51"/>
                  </a:cubicBezTo>
                  <a:cubicBezTo>
                    <a:pt x="44" y="49"/>
                    <a:pt x="49" y="47"/>
                    <a:pt x="50" y="47"/>
                  </a:cubicBezTo>
                  <a:cubicBezTo>
                    <a:pt x="53" y="47"/>
                    <a:pt x="56" y="46"/>
                    <a:pt x="58" y="48"/>
                  </a:cubicBezTo>
                  <a:cubicBezTo>
                    <a:pt x="62" y="50"/>
                    <a:pt x="65" y="54"/>
                    <a:pt x="67" y="57"/>
                  </a:cubicBezTo>
                  <a:cubicBezTo>
                    <a:pt x="72" y="40"/>
                    <a:pt x="81" y="24"/>
                    <a:pt x="94" y="13"/>
                  </a:cubicBezTo>
                  <a:cubicBezTo>
                    <a:pt x="96" y="11"/>
                    <a:pt x="100" y="10"/>
                    <a:pt x="102" y="11"/>
                  </a:cubicBezTo>
                  <a:cubicBezTo>
                    <a:pt x="104" y="11"/>
                    <a:pt x="108" y="12"/>
                    <a:pt x="105" y="14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Oval 95">
              <a:extLst>
                <a:ext uri="{FF2B5EF4-FFF2-40B4-BE49-F238E27FC236}">
                  <a16:creationId xmlns:a16="http://schemas.microsoft.com/office/drawing/2014/main" id="{B840F5C1-A74B-BFCA-A20A-BDEC00FF56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6163" y="4333876"/>
              <a:ext cx="225425" cy="223838"/>
            </a:xfrm>
            <a:prstGeom prst="ellipse">
              <a:avLst/>
            </a:pr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67760314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7658" y="-4416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>
            <a:normAutofit fontScale="90000"/>
          </a:bodyPr>
          <a:lstStyle/>
          <a:p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Summary of Recommendations</a:t>
            </a:r>
            <a:endParaRPr lang="en-US" b="1" dirty="0">
              <a:latin typeface="Chronicle Display Semi"/>
            </a:endParaRP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DDAB9AB4-E16A-F2BF-0A35-C9518F0441E5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1" i="0" u="none" strike="noStrike" kern="0" cap="all" spc="25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/>
              </a:rPr>
              <a:t>Recommendations</a:t>
            </a:r>
          </a:p>
        </p:txBody>
      </p:sp>
      <p:sp>
        <p:nvSpPr>
          <p:cNvPr id="29" name="Arrow: Chevron 28">
            <a:extLst>
              <a:ext uri="{FF2B5EF4-FFF2-40B4-BE49-F238E27FC236}">
                <a16:creationId xmlns:a16="http://schemas.microsoft.com/office/drawing/2014/main" id="{413C902F-17AA-3797-C5E3-8877791A42EA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2EDD28D-3AC4-8819-5E58-ED2C9901036D}"/>
              </a:ext>
            </a:extLst>
          </p:cNvPr>
          <p:cNvSpPr txBox="1">
            <a:spLocks/>
          </p:cNvSpPr>
          <p:nvPr/>
        </p:nvSpPr>
        <p:spPr>
          <a:xfrm>
            <a:off x="243933" y="873532"/>
            <a:ext cx="11252200" cy="55902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Using the insights gained on the subreddit communities, we can now put our model to use in the most effective way possible.</a:t>
            </a:r>
          </a:p>
        </p:txBody>
      </p:sp>
      <p:graphicFrame>
        <p:nvGraphicFramePr>
          <p:cNvPr id="48" name="Table 52">
            <a:extLst>
              <a:ext uri="{FF2B5EF4-FFF2-40B4-BE49-F238E27FC236}">
                <a16:creationId xmlns:a16="http://schemas.microsoft.com/office/drawing/2014/main" id="{9F918F3B-D631-9629-903E-B5D27B4425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883075"/>
              </p:ext>
            </p:extLst>
          </p:nvPr>
        </p:nvGraphicFramePr>
        <p:xfrm>
          <a:off x="554399" y="2685600"/>
          <a:ext cx="11136145" cy="3405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12001">
                  <a:extLst>
                    <a:ext uri="{9D8B030D-6E8A-4147-A177-3AD203B41FA5}">
                      <a16:colId xmlns:a16="http://schemas.microsoft.com/office/drawing/2014/main" val="1614658042"/>
                    </a:ext>
                  </a:extLst>
                </a:gridCol>
                <a:gridCol w="2267824">
                  <a:extLst>
                    <a:ext uri="{9D8B030D-6E8A-4147-A177-3AD203B41FA5}">
                      <a16:colId xmlns:a16="http://schemas.microsoft.com/office/drawing/2014/main" val="4017876156"/>
                    </a:ext>
                  </a:extLst>
                </a:gridCol>
                <a:gridCol w="6456320">
                  <a:extLst>
                    <a:ext uri="{9D8B030D-6E8A-4147-A177-3AD203B41FA5}">
                      <a16:colId xmlns:a16="http://schemas.microsoft.com/office/drawing/2014/main" val="2783680657"/>
                    </a:ext>
                  </a:extLst>
                </a:gridCol>
              </a:tblGrid>
              <a:tr h="587781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Recommendation</a:t>
                      </a:r>
                    </a:p>
                  </a:txBody>
                  <a:tcPr anchor="ctr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rea</a:t>
                      </a:r>
                    </a:p>
                  </a:txBody>
                  <a:tcPr anchor="ctr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ction</a:t>
                      </a:r>
                    </a:p>
                  </a:txBody>
                  <a:tcPr anchor="ctr">
                    <a:solidFill>
                      <a:schemeClr val="accent6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5453865"/>
                  </a:ext>
                </a:extLst>
              </a:tr>
              <a:tr h="939273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600" b="1" dirty="0"/>
                        <a:t>Market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200"/>
                        </a:spcBef>
                        <a:buSzPct val="100000"/>
                        <a:buFont typeface="Arial" panose="020B0604020202020204" pitchFamily="34" charset="0"/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Advertise </a:t>
                      </a:r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promotional offers 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and </a:t>
                      </a:r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exclusive discounts 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to the snowboard community for gear and accessories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82210600"/>
                  </a:ext>
                </a:extLst>
              </a:tr>
              <a:tr h="939273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600" b="1" dirty="0"/>
                        <a:t>Partnership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Partner with professionals and snowboard schools to package </a:t>
                      </a:r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lessons and rentals/equipment 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if bought through Burton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35325209"/>
                  </a:ext>
                </a:extLst>
              </a:tr>
              <a:tr h="939273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Content Cre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Create and deliver targeted content (video tutorials, blog articles, social media posts) on </a:t>
                      </a:r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technical tips and tutorials.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08488069"/>
                  </a:ext>
                </a:extLst>
              </a:tr>
            </a:tbl>
          </a:graphicData>
        </a:graphic>
      </p:graphicFrame>
      <p:sp>
        <p:nvSpPr>
          <p:cNvPr id="6" name="Oval 5">
            <a:extLst>
              <a:ext uri="{FF2B5EF4-FFF2-40B4-BE49-F238E27FC236}">
                <a16:creationId xmlns:a16="http://schemas.microsoft.com/office/drawing/2014/main" id="{4F0DE697-EE87-4D12-9875-D2453715F08D}"/>
              </a:ext>
            </a:extLst>
          </p:cNvPr>
          <p:cNvSpPr/>
          <p:nvPr/>
        </p:nvSpPr>
        <p:spPr bwMode="gray">
          <a:xfrm>
            <a:off x="1499078" y="3451005"/>
            <a:ext cx="548640" cy="54864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I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1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A43BEB5-1D4F-B5E4-0D41-DA15CEBE8D65}"/>
              </a:ext>
            </a:extLst>
          </p:cNvPr>
          <p:cNvSpPr/>
          <p:nvPr/>
        </p:nvSpPr>
        <p:spPr bwMode="gray">
          <a:xfrm>
            <a:off x="1499078" y="4405064"/>
            <a:ext cx="548640" cy="54864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I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2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7D7BDB4F-227F-133C-001C-9AF52B3AFA84}"/>
              </a:ext>
            </a:extLst>
          </p:cNvPr>
          <p:cNvSpPr/>
          <p:nvPr/>
        </p:nvSpPr>
        <p:spPr bwMode="gray">
          <a:xfrm>
            <a:off x="1499078" y="5359123"/>
            <a:ext cx="548640" cy="54864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lang="en-IE" sz="1600" b="1" dirty="0">
                <a:solidFill>
                  <a:prstClr val="white"/>
                </a:solidFill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3</a:t>
            </a:r>
            <a:endParaRPr kumimoji="0" lang="en-I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B7ADCA17-FB75-89D8-7E3F-B33FDC35E415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85" name="Arrow: Chevron 84">
            <a:extLst>
              <a:ext uri="{FF2B5EF4-FFF2-40B4-BE49-F238E27FC236}">
                <a16:creationId xmlns:a16="http://schemas.microsoft.com/office/drawing/2014/main" id="{BA10455A-4C61-8AE2-189B-883EEF4A6F8C}"/>
              </a:ext>
            </a:extLst>
          </p:cNvPr>
          <p:cNvSpPr/>
          <p:nvPr/>
        </p:nvSpPr>
        <p:spPr bwMode="gray">
          <a:xfrm>
            <a:off x="2408319" y="153822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86" name="Arrow: Chevron 85">
            <a:extLst>
              <a:ext uri="{FF2B5EF4-FFF2-40B4-BE49-F238E27FC236}">
                <a16:creationId xmlns:a16="http://schemas.microsoft.com/office/drawing/2014/main" id="{CCD7F0E7-CEE0-D380-F35E-683D332A051B}"/>
              </a:ext>
            </a:extLst>
          </p:cNvPr>
          <p:cNvSpPr/>
          <p:nvPr/>
        </p:nvSpPr>
        <p:spPr bwMode="gray">
          <a:xfrm>
            <a:off x="2695472" y="155834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87" name="Arrow: Chevron 86">
            <a:extLst>
              <a:ext uri="{FF2B5EF4-FFF2-40B4-BE49-F238E27FC236}">
                <a16:creationId xmlns:a16="http://schemas.microsoft.com/office/drawing/2014/main" id="{B224B2DF-2D1A-9621-2061-2EBEC8886AB0}"/>
              </a:ext>
            </a:extLst>
          </p:cNvPr>
          <p:cNvSpPr/>
          <p:nvPr/>
        </p:nvSpPr>
        <p:spPr bwMode="gray">
          <a:xfrm>
            <a:off x="2978570" y="161271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88" name="Arrow: Chevron 87">
            <a:extLst>
              <a:ext uri="{FF2B5EF4-FFF2-40B4-BE49-F238E27FC236}">
                <a16:creationId xmlns:a16="http://schemas.microsoft.com/office/drawing/2014/main" id="{3E4F5F08-94E1-1D43-5FC6-9E3D871E9E65}"/>
              </a:ext>
            </a:extLst>
          </p:cNvPr>
          <p:cNvSpPr/>
          <p:nvPr/>
        </p:nvSpPr>
        <p:spPr bwMode="gray">
          <a:xfrm>
            <a:off x="3265060" y="15590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89" name="Arrow: Chevron 88">
            <a:extLst>
              <a:ext uri="{FF2B5EF4-FFF2-40B4-BE49-F238E27FC236}">
                <a16:creationId xmlns:a16="http://schemas.microsoft.com/office/drawing/2014/main" id="{49086B5D-9330-CF96-B136-FF6AB927C013}"/>
              </a:ext>
            </a:extLst>
          </p:cNvPr>
          <p:cNvSpPr/>
          <p:nvPr/>
        </p:nvSpPr>
        <p:spPr bwMode="gray">
          <a:xfrm>
            <a:off x="3552213" y="157916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F0A3781-F20C-308B-2FAB-583224477338}"/>
              </a:ext>
            </a:extLst>
          </p:cNvPr>
          <p:cNvGrpSpPr/>
          <p:nvPr/>
        </p:nvGrpSpPr>
        <p:grpSpPr>
          <a:xfrm>
            <a:off x="11195247" y="308845"/>
            <a:ext cx="495298" cy="495853"/>
            <a:chOff x="7788275" y="698501"/>
            <a:chExt cx="873126" cy="1047750"/>
          </a:xfrm>
        </p:grpSpPr>
        <p:sp>
          <p:nvSpPr>
            <p:cNvPr id="5" name="Freeform 43">
              <a:extLst>
                <a:ext uri="{FF2B5EF4-FFF2-40B4-BE49-F238E27FC236}">
                  <a16:creationId xmlns:a16="http://schemas.microsoft.com/office/drawing/2014/main" id="{63CC0258-85A7-85F2-230A-8690228578D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2775" y="908051"/>
              <a:ext cx="22225" cy="77788"/>
            </a:xfrm>
            <a:custGeom>
              <a:avLst/>
              <a:gdLst>
                <a:gd name="T0" fmla="*/ 3 w 11"/>
                <a:gd name="T1" fmla="*/ 37 h 37"/>
                <a:gd name="T2" fmla="*/ 7 w 11"/>
                <a:gd name="T3" fmla="*/ 37 h 37"/>
                <a:gd name="T4" fmla="*/ 11 w 11"/>
                <a:gd name="T5" fmla="*/ 33 h 37"/>
                <a:gd name="T6" fmla="*/ 11 w 11"/>
                <a:gd name="T7" fmla="*/ 2 h 37"/>
                <a:gd name="T8" fmla="*/ 11 w 11"/>
                <a:gd name="T9" fmla="*/ 0 h 37"/>
                <a:gd name="T10" fmla="*/ 3 w 11"/>
                <a:gd name="T11" fmla="*/ 6 h 37"/>
                <a:gd name="T12" fmla="*/ 0 w 11"/>
                <a:gd name="T13" fmla="*/ 5 h 37"/>
                <a:gd name="T14" fmla="*/ 0 w 11"/>
                <a:gd name="T15" fmla="*/ 33 h 37"/>
                <a:gd name="T16" fmla="*/ 3 w 11"/>
                <a:gd name="T17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37">
                  <a:moveTo>
                    <a:pt x="3" y="37"/>
                  </a:moveTo>
                  <a:cubicBezTo>
                    <a:pt x="7" y="37"/>
                    <a:pt x="7" y="37"/>
                    <a:pt x="7" y="37"/>
                  </a:cubicBezTo>
                  <a:cubicBezTo>
                    <a:pt x="9" y="37"/>
                    <a:pt x="11" y="35"/>
                    <a:pt x="11" y="3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6" y="4"/>
                    <a:pt x="3" y="6"/>
                    <a:pt x="3" y="6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5"/>
                    <a:pt x="1" y="37"/>
                    <a:pt x="3" y="3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" name="Freeform 44">
              <a:extLst>
                <a:ext uri="{FF2B5EF4-FFF2-40B4-BE49-F238E27FC236}">
                  <a16:creationId xmlns:a16="http://schemas.microsoft.com/office/drawing/2014/main" id="{853727BF-634A-EC8E-EDDF-0CC45C21B3B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07375" y="784226"/>
              <a:ext cx="298450" cy="241300"/>
            </a:xfrm>
            <a:custGeom>
              <a:avLst/>
              <a:gdLst>
                <a:gd name="T0" fmla="*/ 2 w 142"/>
                <a:gd name="T1" fmla="*/ 115 h 115"/>
                <a:gd name="T2" fmla="*/ 139 w 142"/>
                <a:gd name="T3" fmla="*/ 115 h 115"/>
                <a:gd name="T4" fmla="*/ 142 w 142"/>
                <a:gd name="T5" fmla="*/ 112 h 115"/>
                <a:gd name="T6" fmla="*/ 139 w 142"/>
                <a:gd name="T7" fmla="*/ 108 h 115"/>
                <a:gd name="T8" fmla="*/ 8 w 142"/>
                <a:gd name="T9" fmla="*/ 108 h 115"/>
                <a:gd name="T10" fmla="*/ 5 w 142"/>
                <a:gd name="T11" fmla="*/ 104 h 115"/>
                <a:gd name="T12" fmla="*/ 5 w 142"/>
                <a:gd name="T13" fmla="*/ 4 h 115"/>
                <a:gd name="T14" fmla="*/ 2 w 142"/>
                <a:gd name="T15" fmla="*/ 0 h 115"/>
                <a:gd name="T16" fmla="*/ 0 w 142"/>
                <a:gd name="T17" fmla="*/ 4 h 115"/>
                <a:gd name="T18" fmla="*/ 0 w 142"/>
                <a:gd name="T19" fmla="*/ 112 h 115"/>
                <a:gd name="T20" fmla="*/ 2 w 142"/>
                <a:gd name="T21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2" h="115">
                  <a:moveTo>
                    <a:pt x="2" y="115"/>
                  </a:moveTo>
                  <a:cubicBezTo>
                    <a:pt x="139" y="115"/>
                    <a:pt x="139" y="115"/>
                    <a:pt x="139" y="115"/>
                  </a:cubicBezTo>
                  <a:cubicBezTo>
                    <a:pt x="140" y="115"/>
                    <a:pt x="142" y="113"/>
                    <a:pt x="142" y="112"/>
                  </a:cubicBezTo>
                  <a:cubicBezTo>
                    <a:pt x="142" y="110"/>
                    <a:pt x="140" y="108"/>
                    <a:pt x="139" y="108"/>
                  </a:cubicBezTo>
                  <a:cubicBezTo>
                    <a:pt x="8" y="108"/>
                    <a:pt x="8" y="108"/>
                    <a:pt x="8" y="108"/>
                  </a:cubicBezTo>
                  <a:cubicBezTo>
                    <a:pt x="6" y="108"/>
                    <a:pt x="5" y="106"/>
                    <a:pt x="5" y="10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2"/>
                    <a:pt x="4" y="0"/>
                    <a:pt x="2" y="0"/>
                  </a:cubicBezTo>
                  <a:cubicBezTo>
                    <a:pt x="1" y="0"/>
                    <a:pt x="0" y="2"/>
                    <a:pt x="0" y="4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3"/>
                    <a:pt x="1" y="115"/>
                    <a:pt x="2" y="11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" name="Freeform 45">
              <a:extLst>
                <a:ext uri="{FF2B5EF4-FFF2-40B4-BE49-F238E27FC236}">
                  <a16:creationId xmlns:a16="http://schemas.microsoft.com/office/drawing/2014/main" id="{0EC557F7-993A-476F-DD64-024073C32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0425" y="809626"/>
              <a:ext cx="25400" cy="176213"/>
            </a:xfrm>
            <a:custGeom>
              <a:avLst/>
              <a:gdLst>
                <a:gd name="T0" fmla="*/ 9 w 12"/>
                <a:gd name="T1" fmla="*/ 0 h 84"/>
                <a:gd name="T2" fmla="*/ 3 w 12"/>
                <a:gd name="T3" fmla="*/ 9 h 84"/>
                <a:gd name="T4" fmla="*/ 0 w 12"/>
                <a:gd name="T5" fmla="*/ 10 h 84"/>
                <a:gd name="T6" fmla="*/ 0 w 12"/>
                <a:gd name="T7" fmla="*/ 76 h 84"/>
                <a:gd name="T8" fmla="*/ 4 w 12"/>
                <a:gd name="T9" fmla="*/ 84 h 84"/>
                <a:gd name="T10" fmla="*/ 8 w 12"/>
                <a:gd name="T11" fmla="*/ 84 h 84"/>
                <a:gd name="T12" fmla="*/ 12 w 12"/>
                <a:gd name="T13" fmla="*/ 76 h 84"/>
                <a:gd name="T14" fmla="*/ 12 w 12"/>
                <a:gd name="T15" fmla="*/ 8 h 84"/>
                <a:gd name="T16" fmla="*/ 9 w 12"/>
                <a:gd name="T17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84">
                  <a:moveTo>
                    <a:pt x="9" y="0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2" y="10"/>
                    <a:pt x="1" y="10"/>
                    <a:pt x="0" y="1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80"/>
                    <a:pt x="2" y="84"/>
                    <a:pt x="4" y="84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10" y="84"/>
                    <a:pt x="12" y="80"/>
                    <a:pt x="12" y="76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4"/>
                    <a:pt x="10" y="1"/>
                    <a:pt x="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" name="Freeform 46">
              <a:extLst>
                <a:ext uri="{FF2B5EF4-FFF2-40B4-BE49-F238E27FC236}">
                  <a16:creationId xmlns:a16="http://schemas.microsoft.com/office/drawing/2014/main" id="{F2B5B7B4-03DD-6178-1A00-E226F06900D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2775" y="777876"/>
              <a:ext cx="273050" cy="133350"/>
            </a:xfrm>
            <a:custGeom>
              <a:avLst/>
              <a:gdLst>
                <a:gd name="T0" fmla="*/ 0 w 130"/>
                <a:gd name="T1" fmla="*/ 62 h 63"/>
                <a:gd name="T2" fmla="*/ 2 w 130"/>
                <a:gd name="T3" fmla="*/ 63 h 63"/>
                <a:gd name="T4" fmla="*/ 51 w 130"/>
                <a:gd name="T5" fmla="*/ 28 h 63"/>
                <a:gd name="T6" fmla="*/ 53 w 130"/>
                <a:gd name="T7" fmla="*/ 29 h 63"/>
                <a:gd name="T8" fmla="*/ 61 w 130"/>
                <a:gd name="T9" fmla="*/ 51 h 63"/>
                <a:gd name="T10" fmla="*/ 63 w 130"/>
                <a:gd name="T11" fmla="*/ 52 h 63"/>
                <a:gd name="T12" fmla="*/ 120 w 130"/>
                <a:gd name="T13" fmla="*/ 11 h 63"/>
                <a:gd name="T14" fmla="*/ 117 w 130"/>
                <a:gd name="T15" fmla="*/ 16 h 63"/>
                <a:gd name="T16" fmla="*/ 117 w 130"/>
                <a:gd name="T17" fmla="*/ 19 h 63"/>
                <a:gd name="T18" fmla="*/ 117 w 130"/>
                <a:gd name="T19" fmla="*/ 19 h 63"/>
                <a:gd name="T20" fmla="*/ 120 w 130"/>
                <a:gd name="T21" fmla="*/ 19 h 63"/>
                <a:gd name="T22" fmla="*/ 129 w 130"/>
                <a:gd name="T23" fmla="*/ 4 h 63"/>
                <a:gd name="T24" fmla="*/ 129 w 130"/>
                <a:gd name="T25" fmla="*/ 2 h 63"/>
                <a:gd name="T26" fmla="*/ 128 w 130"/>
                <a:gd name="T27" fmla="*/ 0 h 63"/>
                <a:gd name="T28" fmla="*/ 113 w 130"/>
                <a:gd name="T29" fmla="*/ 3 h 63"/>
                <a:gd name="T30" fmla="*/ 112 w 130"/>
                <a:gd name="T31" fmla="*/ 6 h 63"/>
                <a:gd name="T32" fmla="*/ 112 w 130"/>
                <a:gd name="T33" fmla="*/ 6 h 63"/>
                <a:gd name="T34" fmla="*/ 114 w 130"/>
                <a:gd name="T35" fmla="*/ 8 h 63"/>
                <a:gd name="T36" fmla="*/ 118 w 130"/>
                <a:gd name="T37" fmla="*/ 7 h 63"/>
                <a:gd name="T38" fmla="*/ 65 w 130"/>
                <a:gd name="T39" fmla="*/ 45 h 63"/>
                <a:gd name="T40" fmla="*/ 63 w 130"/>
                <a:gd name="T41" fmla="*/ 44 h 63"/>
                <a:gd name="T42" fmla="*/ 56 w 130"/>
                <a:gd name="T43" fmla="*/ 26 h 63"/>
                <a:gd name="T44" fmla="*/ 54 w 130"/>
                <a:gd name="T45" fmla="*/ 22 h 63"/>
                <a:gd name="T46" fmla="*/ 52 w 130"/>
                <a:gd name="T47" fmla="*/ 22 h 63"/>
                <a:gd name="T48" fmla="*/ 1 w 130"/>
                <a:gd name="T49" fmla="*/ 58 h 63"/>
                <a:gd name="T50" fmla="*/ 0 w 130"/>
                <a:gd name="T51" fmla="*/ 61 h 63"/>
                <a:gd name="T52" fmla="*/ 0 w 130"/>
                <a:gd name="T53" fmla="*/ 6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0" h="63">
                  <a:moveTo>
                    <a:pt x="0" y="62"/>
                  </a:moveTo>
                  <a:cubicBezTo>
                    <a:pt x="1" y="63"/>
                    <a:pt x="2" y="63"/>
                    <a:pt x="2" y="63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2" y="28"/>
                    <a:pt x="53" y="28"/>
                    <a:pt x="53" y="29"/>
                  </a:cubicBezTo>
                  <a:cubicBezTo>
                    <a:pt x="61" y="51"/>
                    <a:pt x="61" y="51"/>
                    <a:pt x="61" y="51"/>
                  </a:cubicBezTo>
                  <a:cubicBezTo>
                    <a:pt x="62" y="52"/>
                    <a:pt x="63" y="52"/>
                    <a:pt x="63" y="52"/>
                  </a:cubicBezTo>
                  <a:cubicBezTo>
                    <a:pt x="120" y="11"/>
                    <a:pt x="120" y="11"/>
                    <a:pt x="120" y="11"/>
                  </a:cubicBezTo>
                  <a:cubicBezTo>
                    <a:pt x="117" y="16"/>
                    <a:pt x="117" y="16"/>
                    <a:pt x="117" y="16"/>
                  </a:cubicBezTo>
                  <a:cubicBezTo>
                    <a:pt x="116" y="17"/>
                    <a:pt x="117" y="18"/>
                    <a:pt x="117" y="19"/>
                  </a:cubicBezTo>
                  <a:cubicBezTo>
                    <a:pt x="117" y="19"/>
                    <a:pt x="117" y="19"/>
                    <a:pt x="117" y="19"/>
                  </a:cubicBezTo>
                  <a:cubicBezTo>
                    <a:pt x="118" y="20"/>
                    <a:pt x="119" y="20"/>
                    <a:pt x="120" y="19"/>
                  </a:cubicBezTo>
                  <a:cubicBezTo>
                    <a:pt x="129" y="4"/>
                    <a:pt x="129" y="4"/>
                    <a:pt x="129" y="4"/>
                  </a:cubicBezTo>
                  <a:cubicBezTo>
                    <a:pt x="130" y="4"/>
                    <a:pt x="130" y="3"/>
                    <a:pt x="129" y="2"/>
                  </a:cubicBezTo>
                  <a:cubicBezTo>
                    <a:pt x="129" y="1"/>
                    <a:pt x="128" y="0"/>
                    <a:pt x="128" y="0"/>
                  </a:cubicBezTo>
                  <a:cubicBezTo>
                    <a:pt x="113" y="3"/>
                    <a:pt x="113" y="3"/>
                    <a:pt x="113" y="3"/>
                  </a:cubicBezTo>
                  <a:cubicBezTo>
                    <a:pt x="113" y="3"/>
                    <a:pt x="112" y="4"/>
                    <a:pt x="112" y="6"/>
                  </a:cubicBezTo>
                  <a:cubicBezTo>
                    <a:pt x="112" y="6"/>
                    <a:pt x="112" y="6"/>
                    <a:pt x="112" y="6"/>
                  </a:cubicBezTo>
                  <a:cubicBezTo>
                    <a:pt x="112" y="7"/>
                    <a:pt x="113" y="8"/>
                    <a:pt x="114" y="8"/>
                  </a:cubicBezTo>
                  <a:cubicBezTo>
                    <a:pt x="118" y="7"/>
                    <a:pt x="118" y="7"/>
                    <a:pt x="118" y="7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4" y="46"/>
                    <a:pt x="63" y="45"/>
                    <a:pt x="63" y="44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55" y="25"/>
                    <a:pt x="55" y="23"/>
                    <a:pt x="54" y="22"/>
                  </a:cubicBezTo>
                  <a:cubicBezTo>
                    <a:pt x="54" y="21"/>
                    <a:pt x="53" y="21"/>
                    <a:pt x="52" y="22"/>
                  </a:cubicBezTo>
                  <a:cubicBezTo>
                    <a:pt x="1" y="58"/>
                    <a:pt x="1" y="58"/>
                    <a:pt x="1" y="58"/>
                  </a:cubicBezTo>
                  <a:cubicBezTo>
                    <a:pt x="0" y="59"/>
                    <a:pt x="0" y="60"/>
                    <a:pt x="0" y="61"/>
                  </a:cubicBezTo>
                  <a:lnTo>
                    <a:pt x="0" y="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Freeform 47">
              <a:extLst>
                <a:ext uri="{FF2B5EF4-FFF2-40B4-BE49-F238E27FC236}">
                  <a16:creationId xmlns:a16="http://schemas.microsoft.com/office/drawing/2014/main" id="{576E682A-23F4-B5EB-B54F-5ACCA9F1BA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6900" y="1103313"/>
              <a:ext cx="293688" cy="38100"/>
            </a:xfrm>
            <a:custGeom>
              <a:avLst/>
              <a:gdLst>
                <a:gd name="T0" fmla="*/ 125 w 139"/>
                <a:gd name="T1" fmla="*/ 0 h 18"/>
                <a:gd name="T2" fmla="*/ 14 w 139"/>
                <a:gd name="T3" fmla="*/ 0 h 18"/>
                <a:gd name="T4" fmla="*/ 0 w 139"/>
                <a:gd name="T5" fmla="*/ 9 h 18"/>
                <a:gd name="T6" fmla="*/ 14 w 139"/>
                <a:gd name="T7" fmla="*/ 18 h 18"/>
                <a:gd name="T8" fmla="*/ 125 w 139"/>
                <a:gd name="T9" fmla="*/ 18 h 18"/>
                <a:gd name="T10" fmla="*/ 139 w 139"/>
                <a:gd name="T11" fmla="*/ 9 h 18"/>
                <a:gd name="T12" fmla="*/ 125 w 139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18">
                  <a:moveTo>
                    <a:pt x="125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4"/>
                    <a:pt x="7" y="18"/>
                    <a:pt x="14" y="18"/>
                  </a:cubicBezTo>
                  <a:cubicBezTo>
                    <a:pt x="125" y="18"/>
                    <a:pt x="125" y="18"/>
                    <a:pt x="125" y="18"/>
                  </a:cubicBezTo>
                  <a:cubicBezTo>
                    <a:pt x="132" y="18"/>
                    <a:pt x="139" y="14"/>
                    <a:pt x="139" y="9"/>
                  </a:cubicBezTo>
                  <a:cubicBezTo>
                    <a:pt x="139" y="4"/>
                    <a:pt x="132" y="0"/>
                    <a:pt x="12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Freeform 48">
              <a:extLst>
                <a:ext uri="{FF2B5EF4-FFF2-40B4-BE49-F238E27FC236}">
                  <a16:creationId xmlns:a16="http://schemas.microsoft.com/office/drawing/2014/main" id="{0FCDA267-D362-C9FA-D7DA-5A2916EC78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6900" y="1182688"/>
              <a:ext cx="293688" cy="36513"/>
            </a:xfrm>
            <a:custGeom>
              <a:avLst/>
              <a:gdLst>
                <a:gd name="T0" fmla="*/ 125 w 139"/>
                <a:gd name="T1" fmla="*/ 0 h 18"/>
                <a:gd name="T2" fmla="*/ 14 w 139"/>
                <a:gd name="T3" fmla="*/ 0 h 18"/>
                <a:gd name="T4" fmla="*/ 0 w 139"/>
                <a:gd name="T5" fmla="*/ 9 h 18"/>
                <a:gd name="T6" fmla="*/ 14 w 139"/>
                <a:gd name="T7" fmla="*/ 18 h 18"/>
                <a:gd name="T8" fmla="*/ 125 w 139"/>
                <a:gd name="T9" fmla="*/ 18 h 18"/>
                <a:gd name="T10" fmla="*/ 139 w 139"/>
                <a:gd name="T11" fmla="*/ 9 h 18"/>
                <a:gd name="T12" fmla="*/ 125 w 139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18">
                  <a:moveTo>
                    <a:pt x="125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4"/>
                    <a:pt x="7" y="18"/>
                    <a:pt x="14" y="18"/>
                  </a:cubicBezTo>
                  <a:cubicBezTo>
                    <a:pt x="125" y="18"/>
                    <a:pt x="125" y="18"/>
                    <a:pt x="125" y="18"/>
                  </a:cubicBezTo>
                  <a:cubicBezTo>
                    <a:pt x="132" y="18"/>
                    <a:pt x="139" y="14"/>
                    <a:pt x="139" y="9"/>
                  </a:cubicBezTo>
                  <a:cubicBezTo>
                    <a:pt x="139" y="4"/>
                    <a:pt x="132" y="0"/>
                    <a:pt x="12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49">
              <a:extLst>
                <a:ext uri="{FF2B5EF4-FFF2-40B4-BE49-F238E27FC236}">
                  <a16:creationId xmlns:a16="http://schemas.microsoft.com/office/drawing/2014/main" id="{451EC786-9C95-66D6-D889-CBC8AB1D63F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3738" y="849313"/>
              <a:ext cx="25400" cy="136525"/>
            </a:xfrm>
            <a:custGeom>
              <a:avLst/>
              <a:gdLst>
                <a:gd name="T0" fmla="*/ 0 w 12"/>
                <a:gd name="T1" fmla="*/ 59 h 65"/>
                <a:gd name="T2" fmla="*/ 4 w 12"/>
                <a:gd name="T3" fmla="*/ 65 h 65"/>
                <a:gd name="T4" fmla="*/ 8 w 12"/>
                <a:gd name="T5" fmla="*/ 65 h 65"/>
                <a:gd name="T6" fmla="*/ 12 w 12"/>
                <a:gd name="T7" fmla="*/ 59 h 65"/>
                <a:gd name="T8" fmla="*/ 12 w 12"/>
                <a:gd name="T9" fmla="*/ 4 h 65"/>
                <a:gd name="T10" fmla="*/ 11 w 12"/>
                <a:gd name="T11" fmla="*/ 0 h 65"/>
                <a:gd name="T12" fmla="*/ 0 w 12"/>
                <a:gd name="T13" fmla="*/ 8 h 65"/>
                <a:gd name="T14" fmla="*/ 0 w 12"/>
                <a:gd name="T15" fmla="*/ 59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65">
                  <a:moveTo>
                    <a:pt x="0" y="59"/>
                  </a:moveTo>
                  <a:cubicBezTo>
                    <a:pt x="0" y="62"/>
                    <a:pt x="2" y="65"/>
                    <a:pt x="4" y="65"/>
                  </a:cubicBezTo>
                  <a:cubicBezTo>
                    <a:pt x="8" y="65"/>
                    <a:pt x="8" y="65"/>
                    <a:pt x="8" y="65"/>
                  </a:cubicBezTo>
                  <a:cubicBezTo>
                    <a:pt x="10" y="65"/>
                    <a:pt x="12" y="62"/>
                    <a:pt x="12" y="59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3"/>
                    <a:pt x="11" y="1"/>
                    <a:pt x="11" y="0"/>
                  </a:cubicBezTo>
                  <a:cubicBezTo>
                    <a:pt x="9" y="2"/>
                    <a:pt x="5" y="5"/>
                    <a:pt x="0" y="8"/>
                  </a:cubicBezTo>
                  <a:lnTo>
                    <a:pt x="0" y="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50">
              <a:extLst>
                <a:ext uri="{FF2B5EF4-FFF2-40B4-BE49-F238E27FC236}">
                  <a16:creationId xmlns:a16="http://schemas.microsoft.com/office/drawing/2014/main" id="{CB278597-BB9C-0F0F-7029-A11511225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6600" y="887413"/>
              <a:ext cx="23813" cy="98425"/>
            </a:xfrm>
            <a:custGeom>
              <a:avLst/>
              <a:gdLst>
                <a:gd name="T0" fmla="*/ 1 w 11"/>
                <a:gd name="T1" fmla="*/ 3 h 47"/>
                <a:gd name="T2" fmla="*/ 0 w 11"/>
                <a:gd name="T3" fmla="*/ 1 h 47"/>
                <a:gd name="T4" fmla="*/ 0 w 11"/>
                <a:gd name="T5" fmla="*/ 1 h 47"/>
                <a:gd name="T6" fmla="*/ 0 w 11"/>
                <a:gd name="T7" fmla="*/ 42 h 47"/>
                <a:gd name="T8" fmla="*/ 3 w 11"/>
                <a:gd name="T9" fmla="*/ 47 h 47"/>
                <a:gd name="T10" fmla="*/ 8 w 11"/>
                <a:gd name="T11" fmla="*/ 47 h 47"/>
                <a:gd name="T12" fmla="*/ 11 w 11"/>
                <a:gd name="T13" fmla="*/ 42 h 47"/>
                <a:gd name="T14" fmla="*/ 11 w 11"/>
                <a:gd name="T15" fmla="*/ 1 h 47"/>
                <a:gd name="T16" fmla="*/ 11 w 11"/>
                <a:gd name="T17" fmla="*/ 0 h 47"/>
                <a:gd name="T18" fmla="*/ 5 w 11"/>
                <a:gd name="T19" fmla="*/ 5 h 47"/>
                <a:gd name="T20" fmla="*/ 1 w 11"/>
                <a:gd name="T21" fmla="*/ 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47">
                  <a:moveTo>
                    <a:pt x="1" y="3"/>
                  </a:moveTo>
                  <a:cubicBezTo>
                    <a:pt x="1" y="3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5"/>
                    <a:pt x="1" y="47"/>
                    <a:pt x="3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10" y="47"/>
                    <a:pt x="11" y="45"/>
                    <a:pt x="11" y="42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8" y="3"/>
                    <a:pt x="5" y="5"/>
                    <a:pt x="5" y="5"/>
                  </a:cubicBezTo>
                  <a:cubicBezTo>
                    <a:pt x="3" y="6"/>
                    <a:pt x="1" y="5"/>
                    <a:pt x="1" y="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51">
              <a:extLst>
                <a:ext uri="{FF2B5EF4-FFF2-40B4-BE49-F238E27FC236}">
                  <a16:creationId xmlns:a16="http://schemas.microsoft.com/office/drawing/2014/main" id="{4285CA8D-43E3-EE04-B6C5-A0126B5DFE4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463" y="879476"/>
              <a:ext cx="25400" cy="106363"/>
            </a:xfrm>
            <a:custGeom>
              <a:avLst/>
              <a:gdLst>
                <a:gd name="T0" fmla="*/ 0 w 12"/>
                <a:gd name="T1" fmla="*/ 46 h 51"/>
                <a:gd name="T2" fmla="*/ 4 w 12"/>
                <a:gd name="T3" fmla="*/ 51 h 51"/>
                <a:gd name="T4" fmla="*/ 8 w 12"/>
                <a:gd name="T5" fmla="*/ 51 h 51"/>
                <a:gd name="T6" fmla="*/ 12 w 12"/>
                <a:gd name="T7" fmla="*/ 46 h 51"/>
                <a:gd name="T8" fmla="*/ 12 w 12"/>
                <a:gd name="T9" fmla="*/ 3 h 51"/>
                <a:gd name="T10" fmla="*/ 11 w 12"/>
                <a:gd name="T11" fmla="*/ 0 h 51"/>
                <a:gd name="T12" fmla="*/ 0 w 12"/>
                <a:gd name="T13" fmla="*/ 8 h 51"/>
                <a:gd name="T14" fmla="*/ 0 w 12"/>
                <a:gd name="T15" fmla="*/ 4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51">
                  <a:moveTo>
                    <a:pt x="0" y="46"/>
                  </a:moveTo>
                  <a:cubicBezTo>
                    <a:pt x="0" y="49"/>
                    <a:pt x="2" y="51"/>
                    <a:pt x="4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10" y="51"/>
                    <a:pt x="12" y="49"/>
                    <a:pt x="12" y="46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2"/>
                    <a:pt x="12" y="1"/>
                    <a:pt x="11" y="0"/>
                  </a:cubicBezTo>
                  <a:cubicBezTo>
                    <a:pt x="8" y="3"/>
                    <a:pt x="4" y="6"/>
                    <a:pt x="0" y="8"/>
                  </a:cubicBezTo>
                  <a:lnTo>
                    <a:pt x="0" y="4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52">
              <a:extLst>
                <a:ext uri="{FF2B5EF4-FFF2-40B4-BE49-F238E27FC236}">
                  <a16:creationId xmlns:a16="http://schemas.microsoft.com/office/drawing/2014/main" id="{9E07FA66-BA84-3744-24F3-C05A308E4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9150" y="830263"/>
              <a:ext cx="25400" cy="155575"/>
            </a:xfrm>
            <a:custGeom>
              <a:avLst/>
              <a:gdLst>
                <a:gd name="T0" fmla="*/ 0 w 12"/>
                <a:gd name="T1" fmla="*/ 67 h 74"/>
                <a:gd name="T2" fmla="*/ 4 w 12"/>
                <a:gd name="T3" fmla="*/ 74 h 74"/>
                <a:gd name="T4" fmla="*/ 8 w 12"/>
                <a:gd name="T5" fmla="*/ 74 h 74"/>
                <a:gd name="T6" fmla="*/ 12 w 12"/>
                <a:gd name="T7" fmla="*/ 67 h 74"/>
                <a:gd name="T8" fmla="*/ 12 w 12"/>
                <a:gd name="T9" fmla="*/ 4 h 74"/>
                <a:gd name="T10" fmla="*/ 11 w 12"/>
                <a:gd name="T11" fmla="*/ 0 h 74"/>
                <a:gd name="T12" fmla="*/ 0 w 12"/>
                <a:gd name="T13" fmla="*/ 7 h 74"/>
                <a:gd name="T14" fmla="*/ 0 w 12"/>
                <a:gd name="T15" fmla="*/ 67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74">
                  <a:moveTo>
                    <a:pt x="0" y="67"/>
                  </a:moveTo>
                  <a:cubicBezTo>
                    <a:pt x="0" y="71"/>
                    <a:pt x="2" y="74"/>
                    <a:pt x="4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10" y="74"/>
                    <a:pt x="12" y="71"/>
                    <a:pt x="12" y="67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3"/>
                    <a:pt x="12" y="1"/>
                    <a:pt x="11" y="0"/>
                  </a:cubicBezTo>
                  <a:cubicBezTo>
                    <a:pt x="8" y="2"/>
                    <a:pt x="4" y="5"/>
                    <a:pt x="0" y="7"/>
                  </a:cubicBezTo>
                  <a:lnTo>
                    <a:pt x="0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53">
              <a:extLst>
                <a:ext uri="{FF2B5EF4-FFF2-40B4-BE49-F238E27FC236}">
                  <a16:creationId xmlns:a16="http://schemas.microsoft.com/office/drawing/2014/main" id="{7C2793FC-DDD6-6B5D-FD55-2FC0F66DE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9463" y="860426"/>
              <a:ext cx="22225" cy="125413"/>
            </a:xfrm>
            <a:custGeom>
              <a:avLst/>
              <a:gdLst>
                <a:gd name="T0" fmla="*/ 0 w 11"/>
                <a:gd name="T1" fmla="*/ 54 h 60"/>
                <a:gd name="T2" fmla="*/ 3 w 11"/>
                <a:gd name="T3" fmla="*/ 60 h 60"/>
                <a:gd name="T4" fmla="*/ 7 w 11"/>
                <a:gd name="T5" fmla="*/ 60 h 60"/>
                <a:gd name="T6" fmla="*/ 11 w 11"/>
                <a:gd name="T7" fmla="*/ 54 h 60"/>
                <a:gd name="T8" fmla="*/ 11 w 11"/>
                <a:gd name="T9" fmla="*/ 3 h 60"/>
                <a:gd name="T10" fmla="*/ 10 w 11"/>
                <a:gd name="T11" fmla="*/ 0 h 60"/>
                <a:gd name="T12" fmla="*/ 0 w 11"/>
                <a:gd name="T13" fmla="*/ 8 h 60"/>
                <a:gd name="T14" fmla="*/ 0 w 11"/>
                <a:gd name="T15" fmla="*/ 5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60">
                  <a:moveTo>
                    <a:pt x="0" y="54"/>
                  </a:moveTo>
                  <a:cubicBezTo>
                    <a:pt x="0" y="57"/>
                    <a:pt x="1" y="60"/>
                    <a:pt x="3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9" y="60"/>
                    <a:pt x="11" y="57"/>
                    <a:pt x="11" y="5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2"/>
                    <a:pt x="11" y="1"/>
                    <a:pt x="10" y="0"/>
                  </a:cubicBezTo>
                  <a:cubicBezTo>
                    <a:pt x="7" y="2"/>
                    <a:pt x="3" y="5"/>
                    <a:pt x="0" y="8"/>
                  </a:cubicBezTo>
                  <a:lnTo>
                    <a:pt x="0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54">
              <a:extLst>
                <a:ext uri="{FF2B5EF4-FFF2-40B4-BE49-F238E27FC236}">
                  <a16:creationId xmlns:a16="http://schemas.microsoft.com/office/drawing/2014/main" id="{9F24AE6D-25CD-E6C5-7896-C6BF7E1587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88275" y="698501"/>
              <a:ext cx="873126" cy="1047750"/>
            </a:xfrm>
            <a:custGeom>
              <a:avLst/>
              <a:gdLst>
                <a:gd name="T0" fmla="*/ 413 w 415"/>
                <a:gd name="T1" fmla="*/ 480 h 498"/>
                <a:gd name="T2" fmla="*/ 345 w 415"/>
                <a:gd name="T3" fmla="*/ 294 h 498"/>
                <a:gd name="T4" fmla="*/ 371 w 415"/>
                <a:gd name="T5" fmla="*/ 294 h 498"/>
                <a:gd name="T6" fmla="*/ 391 w 415"/>
                <a:gd name="T7" fmla="*/ 274 h 498"/>
                <a:gd name="T8" fmla="*/ 391 w 415"/>
                <a:gd name="T9" fmla="*/ 20 h 498"/>
                <a:gd name="T10" fmla="*/ 371 w 415"/>
                <a:gd name="T11" fmla="*/ 0 h 498"/>
                <a:gd name="T12" fmla="*/ 311 w 415"/>
                <a:gd name="T13" fmla="*/ 0 h 498"/>
                <a:gd name="T14" fmla="*/ 103 w 415"/>
                <a:gd name="T15" fmla="*/ 0 h 498"/>
                <a:gd name="T16" fmla="*/ 44 w 415"/>
                <a:gd name="T17" fmla="*/ 0 h 498"/>
                <a:gd name="T18" fmla="*/ 23 w 415"/>
                <a:gd name="T19" fmla="*/ 20 h 498"/>
                <a:gd name="T20" fmla="*/ 23 w 415"/>
                <a:gd name="T21" fmla="*/ 274 h 498"/>
                <a:gd name="T22" fmla="*/ 44 w 415"/>
                <a:gd name="T23" fmla="*/ 294 h 498"/>
                <a:gd name="T24" fmla="*/ 70 w 415"/>
                <a:gd name="T25" fmla="*/ 294 h 498"/>
                <a:gd name="T26" fmla="*/ 2 w 415"/>
                <a:gd name="T27" fmla="*/ 480 h 498"/>
                <a:gd name="T28" fmla="*/ 8 w 415"/>
                <a:gd name="T29" fmla="*/ 493 h 498"/>
                <a:gd name="T30" fmla="*/ 15 w 415"/>
                <a:gd name="T31" fmla="*/ 496 h 498"/>
                <a:gd name="T32" fmla="*/ 28 w 415"/>
                <a:gd name="T33" fmla="*/ 490 h 498"/>
                <a:gd name="T34" fmla="*/ 99 w 415"/>
                <a:gd name="T35" fmla="*/ 294 h 498"/>
                <a:gd name="T36" fmla="*/ 192 w 415"/>
                <a:gd name="T37" fmla="*/ 294 h 498"/>
                <a:gd name="T38" fmla="*/ 193 w 415"/>
                <a:gd name="T39" fmla="*/ 294 h 498"/>
                <a:gd name="T40" fmla="*/ 193 w 415"/>
                <a:gd name="T41" fmla="*/ 409 h 498"/>
                <a:gd name="T42" fmla="*/ 203 w 415"/>
                <a:gd name="T43" fmla="*/ 415 h 498"/>
                <a:gd name="T44" fmla="*/ 204 w 415"/>
                <a:gd name="T45" fmla="*/ 415 h 498"/>
                <a:gd name="T46" fmla="*/ 211 w 415"/>
                <a:gd name="T47" fmla="*/ 415 h 498"/>
                <a:gd name="T48" fmla="*/ 211 w 415"/>
                <a:gd name="T49" fmla="*/ 415 h 498"/>
                <a:gd name="T50" fmla="*/ 221 w 415"/>
                <a:gd name="T51" fmla="*/ 409 h 498"/>
                <a:gd name="T52" fmla="*/ 221 w 415"/>
                <a:gd name="T53" fmla="*/ 294 h 498"/>
                <a:gd name="T54" fmla="*/ 223 w 415"/>
                <a:gd name="T55" fmla="*/ 294 h 498"/>
                <a:gd name="T56" fmla="*/ 315 w 415"/>
                <a:gd name="T57" fmla="*/ 294 h 498"/>
                <a:gd name="T58" fmla="*/ 387 w 415"/>
                <a:gd name="T59" fmla="*/ 490 h 498"/>
                <a:gd name="T60" fmla="*/ 400 w 415"/>
                <a:gd name="T61" fmla="*/ 496 h 498"/>
                <a:gd name="T62" fmla="*/ 406 w 415"/>
                <a:gd name="T63" fmla="*/ 493 h 498"/>
                <a:gd name="T64" fmla="*/ 413 w 415"/>
                <a:gd name="T65" fmla="*/ 480 h 498"/>
                <a:gd name="T66" fmla="*/ 222 w 415"/>
                <a:gd name="T67" fmla="*/ 274 h 498"/>
                <a:gd name="T68" fmla="*/ 192 w 415"/>
                <a:gd name="T69" fmla="*/ 274 h 498"/>
                <a:gd name="T70" fmla="*/ 44 w 415"/>
                <a:gd name="T71" fmla="*/ 274 h 498"/>
                <a:gd name="T72" fmla="*/ 44 w 415"/>
                <a:gd name="T73" fmla="*/ 20 h 498"/>
                <a:gd name="T74" fmla="*/ 116 w 415"/>
                <a:gd name="T75" fmla="*/ 20 h 498"/>
                <a:gd name="T76" fmla="*/ 298 w 415"/>
                <a:gd name="T77" fmla="*/ 20 h 498"/>
                <a:gd name="T78" fmla="*/ 371 w 415"/>
                <a:gd name="T79" fmla="*/ 20 h 498"/>
                <a:gd name="T80" fmla="*/ 371 w 415"/>
                <a:gd name="T81" fmla="*/ 274 h 498"/>
                <a:gd name="T82" fmla="*/ 222 w 415"/>
                <a:gd name="T83" fmla="*/ 274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15" h="498">
                  <a:moveTo>
                    <a:pt x="413" y="480"/>
                  </a:moveTo>
                  <a:cubicBezTo>
                    <a:pt x="345" y="294"/>
                    <a:pt x="345" y="294"/>
                    <a:pt x="345" y="294"/>
                  </a:cubicBezTo>
                  <a:cubicBezTo>
                    <a:pt x="371" y="294"/>
                    <a:pt x="371" y="294"/>
                    <a:pt x="371" y="294"/>
                  </a:cubicBezTo>
                  <a:cubicBezTo>
                    <a:pt x="382" y="294"/>
                    <a:pt x="391" y="285"/>
                    <a:pt x="391" y="274"/>
                  </a:cubicBezTo>
                  <a:cubicBezTo>
                    <a:pt x="391" y="20"/>
                    <a:pt x="391" y="20"/>
                    <a:pt x="391" y="20"/>
                  </a:cubicBezTo>
                  <a:cubicBezTo>
                    <a:pt x="391" y="9"/>
                    <a:pt x="382" y="0"/>
                    <a:pt x="371" y="0"/>
                  </a:cubicBezTo>
                  <a:cubicBezTo>
                    <a:pt x="311" y="0"/>
                    <a:pt x="311" y="0"/>
                    <a:pt x="311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32" y="0"/>
                    <a:pt x="23" y="9"/>
                    <a:pt x="23" y="20"/>
                  </a:cubicBezTo>
                  <a:cubicBezTo>
                    <a:pt x="23" y="274"/>
                    <a:pt x="23" y="274"/>
                    <a:pt x="23" y="274"/>
                  </a:cubicBezTo>
                  <a:cubicBezTo>
                    <a:pt x="23" y="285"/>
                    <a:pt x="32" y="294"/>
                    <a:pt x="44" y="294"/>
                  </a:cubicBezTo>
                  <a:cubicBezTo>
                    <a:pt x="70" y="294"/>
                    <a:pt x="70" y="294"/>
                    <a:pt x="70" y="294"/>
                  </a:cubicBezTo>
                  <a:cubicBezTo>
                    <a:pt x="2" y="480"/>
                    <a:pt x="2" y="480"/>
                    <a:pt x="2" y="480"/>
                  </a:cubicBezTo>
                  <a:cubicBezTo>
                    <a:pt x="0" y="486"/>
                    <a:pt x="3" y="492"/>
                    <a:pt x="8" y="493"/>
                  </a:cubicBezTo>
                  <a:cubicBezTo>
                    <a:pt x="15" y="496"/>
                    <a:pt x="15" y="496"/>
                    <a:pt x="15" y="496"/>
                  </a:cubicBezTo>
                  <a:cubicBezTo>
                    <a:pt x="20" y="498"/>
                    <a:pt x="26" y="495"/>
                    <a:pt x="28" y="490"/>
                  </a:cubicBezTo>
                  <a:cubicBezTo>
                    <a:pt x="99" y="294"/>
                    <a:pt x="99" y="294"/>
                    <a:pt x="99" y="294"/>
                  </a:cubicBezTo>
                  <a:cubicBezTo>
                    <a:pt x="192" y="294"/>
                    <a:pt x="192" y="294"/>
                    <a:pt x="192" y="294"/>
                  </a:cubicBezTo>
                  <a:cubicBezTo>
                    <a:pt x="193" y="294"/>
                    <a:pt x="193" y="294"/>
                    <a:pt x="193" y="294"/>
                  </a:cubicBezTo>
                  <a:cubicBezTo>
                    <a:pt x="193" y="409"/>
                    <a:pt x="193" y="409"/>
                    <a:pt x="193" y="409"/>
                  </a:cubicBezTo>
                  <a:cubicBezTo>
                    <a:pt x="193" y="412"/>
                    <a:pt x="198" y="415"/>
                    <a:pt x="203" y="415"/>
                  </a:cubicBezTo>
                  <a:cubicBezTo>
                    <a:pt x="204" y="415"/>
                    <a:pt x="204" y="415"/>
                    <a:pt x="204" y="415"/>
                  </a:cubicBezTo>
                  <a:cubicBezTo>
                    <a:pt x="211" y="415"/>
                    <a:pt x="211" y="415"/>
                    <a:pt x="211" y="415"/>
                  </a:cubicBezTo>
                  <a:cubicBezTo>
                    <a:pt x="211" y="415"/>
                    <a:pt x="211" y="415"/>
                    <a:pt x="211" y="415"/>
                  </a:cubicBezTo>
                  <a:cubicBezTo>
                    <a:pt x="217" y="415"/>
                    <a:pt x="221" y="412"/>
                    <a:pt x="221" y="409"/>
                  </a:cubicBezTo>
                  <a:cubicBezTo>
                    <a:pt x="221" y="294"/>
                    <a:pt x="221" y="294"/>
                    <a:pt x="221" y="294"/>
                  </a:cubicBezTo>
                  <a:cubicBezTo>
                    <a:pt x="223" y="294"/>
                    <a:pt x="223" y="294"/>
                    <a:pt x="223" y="294"/>
                  </a:cubicBezTo>
                  <a:cubicBezTo>
                    <a:pt x="315" y="294"/>
                    <a:pt x="315" y="294"/>
                    <a:pt x="315" y="294"/>
                  </a:cubicBezTo>
                  <a:cubicBezTo>
                    <a:pt x="387" y="490"/>
                    <a:pt x="387" y="490"/>
                    <a:pt x="387" y="490"/>
                  </a:cubicBezTo>
                  <a:cubicBezTo>
                    <a:pt x="389" y="495"/>
                    <a:pt x="395" y="498"/>
                    <a:pt x="400" y="496"/>
                  </a:cubicBezTo>
                  <a:cubicBezTo>
                    <a:pt x="406" y="493"/>
                    <a:pt x="406" y="493"/>
                    <a:pt x="406" y="493"/>
                  </a:cubicBezTo>
                  <a:cubicBezTo>
                    <a:pt x="412" y="492"/>
                    <a:pt x="415" y="486"/>
                    <a:pt x="413" y="480"/>
                  </a:cubicBezTo>
                  <a:close/>
                  <a:moveTo>
                    <a:pt x="222" y="274"/>
                  </a:moveTo>
                  <a:cubicBezTo>
                    <a:pt x="192" y="274"/>
                    <a:pt x="192" y="274"/>
                    <a:pt x="192" y="274"/>
                  </a:cubicBezTo>
                  <a:cubicBezTo>
                    <a:pt x="44" y="274"/>
                    <a:pt x="44" y="274"/>
                    <a:pt x="44" y="274"/>
                  </a:cubicBezTo>
                  <a:cubicBezTo>
                    <a:pt x="44" y="20"/>
                    <a:pt x="44" y="20"/>
                    <a:pt x="44" y="20"/>
                  </a:cubicBezTo>
                  <a:cubicBezTo>
                    <a:pt x="116" y="20"/>
                    <a:pt x="116" y="20"/>
                    <a:pt x="116" y="20"/>
                  </a:cubicBezTo>
                  <a:cubicBezTo>
                    <a:pt x="298" y="20"/>
                    <a:pt x="298" y="20"/>
                    <a:pt x="298" y="20"/>
                  </a:cubicBezTo>
                  <a:cubicBezTo>
                    <a:pt x="371" y="20"/>
                    <a:pt x="371" y="20"/>
                    <a:pt x="371" y="20"/>
                  </a:cubicBezTo>
                  <a:cubicBezTo>
                    <a:pt x="371" y="274"/>
                    <a:pt x="371" y="274"/>
                    <a:pt x="371" y="274"/>
                  </a:cubicBezTo>
                  <a:lnTo>
                    <a:pt x="222" y="27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55">
              <a:extLst>
                <a:ext uri="{FF2B5EF4-FFF2-40B4-BE49-F238E27FC236}">
                  <a16:creationId xmlns:a16="http://schemas.microsoft.com/office/drawing/2014/main" id="{17996E6A-4D41-B885-5C53-2420659DCBC9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8925" y="795338"/>
              <a:ext cx="273050" cy="38100"/>
            </a:xfrm>
            <a:custGeom>
              <a:avLst/>
              <a:gdLst>
                <a:gd name="T0" fmla="*/ 116 w 130"/>
                <a:gd name="T1" fmla="*/ 0 h 18"/>
                <a:gd name="T2" fmla="*/ 14 w 130"/>
                <a:gd name="T3" fmla="*/ 0 h 18"/>
                <a:gd name="T4" fmla="*/ 0 w 130"/>
                <a:gd name="T5" fmla="*/ 9 h 18"/>
                <a:gd name="T6" fmla="*/ 14 w 130"/>
                <a:gd name="T7" fmla="*/ 18 h 18"/>
                <a:gd name="T8" fmla="*/ 116 w 130"/>
                <a:gd name="T9" fmla="*/ 18 h 18"/>
                <a:gd name="T10" fmla="*/ 130 w 130"/>
                <a:gd name="T11" fmla="*/ 9 h 18"/>
                <a:gd name="T12" fmla="*/ 116 w 130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18">
                  <a:moveTo>
                    <a:pt x="116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4"/>
                    <a:pt x="6" y="18"/>
                    <a:pt x="14" y="18"/>
                  </a:cubicBezTo>
                  <a:cubicBezTo>
                    <a:pt x="116" y="18"/>
                    <a:pt x="116" y="18"/>
                    <a:pt x="116" y="18"/>
                  </a:cubicBezTo>
                  <a:cubicBezTo>
                    <a:pt x="124" y="18"/>
                    <a:pt x="130" y="14"/>
                    <a:pt x="130" y="9"/>
                  </a:cubicBezTo>
                  <a:cubicBezTo>
                    <a:pt x="130" y="4"/>
                    <a:pt x="124" y="0"/>
                    <a:pt x="11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56">
              <a:extLst>
                <a:ext uri="{FF2B5EF4-FFF2-40B4-BE49-F238E27FC236}">
                  <a16:creationId xmlns:a16="http://schemas.microsoft.com/office/drawing/2014/main" id="{C063A9B2-6F40-BE51-8954-74FB120850B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8925" y="869951"/>
              <a:ext cx="273050" cy="41275"/>
            </a:xfrm>
            <a:custGeom>
              <a:avLst/>
              <a:gdLst>
                <a:gd name="T0" fmla="*/ 116 w 130"/>
                <a:gd name="T1" fmla="*/ 0 h 19"/>
                <a:gd name="T2" fmla="*/ 14 w 130"/>
                <a:gd name="T3" fmla="*/ 0 h 19"/>
                <a:gd name="T4" fmla="*/ 0 w 130"/>
                <a:gd name="T5" fmla="*/ 10 h 19"/>
                <a:gd name="T6" fmla="*/ 14 w 130"/>
                <a:gd name="T7" fmla="*/ 19 h 19"/>
                <a:gd name="T8" fmla="*/ 116 w 130"/>
                <a:gd name="T9" fmla="*/ 19 h 19"/>
                <a:gd name="T10" fmla="*/ 130 w 130"/>
                <a:gd name="T11" fmla="*/ 10 h 19"/>
                <a:gd name="T12" fmla="*/ 116 w 130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19">
                  <a:moveTo>
                    <a:pt x="116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5"/>
                    <a:pt x="0" y="10"/>
                  </a:cubicBezTo>
                  <a:cubicBezTo>
                    <a:pt x="0" y="15"/>
                    <a:pt x="6" y="19"/>
                    <a:pt x="14" y="19"/>
                  </a:cubicBezTo>
                  <a:cubicBezTo>
                    <a:pt x="116" y="19"/>
                    <a:pt x="116" y="19"/>
                    <a:pt x="116" y="19"/>
                  </a:cubicBezTo>
                  <a:cubicBezTo>
                    <a:pt x="124" y="19"/>
                    <a:pt x="130" y="15"/>
                    <a:pt x="130" y="10"/>
                  </a:cubicBezTo>
                  <a:cubicBezTo>
                    <a:pt x="130" y="5"/>
                    <a:pt x="124" y="0"/>
                    <a:pt x="11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57">
              <a:extLst>
                <a:ext uri="{FF2B5EF4-FFF2-40B4-BE49-F238E27FC236}">
                  <a16:creationId xmlns:a16="http://schemas.microsoft.com/office/drawing/2014/main" id="{D393F931-2241-B5C6-B1B0-22FF1E4947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8925" y="947738"/>
              <a:ext cx="273050" cy="41275"/>
            </a:xfrm>
            <a:custGeom>
              <a:avLst/>
              <a:gdLst>
                <a:gd name="T0" fmla="*/ 116 w 130"/>
                <a:gd name="T1" fmla="*/ 0 h 19"/>
                <a:gd name="T2" fmla="*/ 14 w 130"/>
                <a:gd name="T3" fmla="*/ 0 h 19"/>
                <a:gd name="T4" fmla="*/ 0 w 130"/>
                <a:gd name="T5" fmla="*/ 10 h 19"/>
                <a:gd name="T6" fmla="*/ 14 w 130"/>
                <a:gd name="T7" fmla="*/ 19 h 19"/>
                <a:gd name="T8" fmla="*/ 116 w 130"/>
                <a:gd name="T9" fmla="*/ 19 h 19"/>
                <a:gd name="T10" fmla="*/ 130 w 130"/>
                <a:gd name="T11" fmla="*/ 10 h 19"/>
                <a:gd name="T12" fmla="*/ 116 w 130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19">
                  <a:moveTo>
                    <a:pt x="116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4"/>
                    <a:pt x="0" y="10"/>
                  </a:cubicBezTo>
                  <a:cubicBezTo>
                    <a:pt x="0" y="15"/>
                    <a:pt x="6" y="19"/>
                    <a:pt x="14" y="19"/>
                  </a:cubicBezTo>
                  <a:cubicBezTo>
                    <a:pt x="116" y="19"/>
                    <a:pt x="116" y="19"/>
                    <a:pt x="116" y="19"/>
                  </a:cubicBezTo>
                  <a:cubicBezTo>
                    <a:pt x="124" y="19"/>
                    <a:pt x="130" y="15"/>
                    <a:pt x="130" y="10"/>
                  </a:cubicBezTo>
                  <a:cubicBezTo>
                    <a:pt x="130" y="4"/>
                    <a:pt x="124" y="0"/>
                    <a:pt x="11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58">
              <a:extLst>
                <a:ext uri="{FF2B5EF4-FFF2-40B4-BE49-F238E27FC236}">
                  <a16:creationId xmlns:a16="http://schemas.microsoft.com/office/drawing/2014/main" id="{26D18FDA-99BE-59E5-8C4B-250164F000D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8925" y="1025526"/>
              <a:ext cx="273050" cy="41275"/>
            </a:xfrm>
            <a:custGeom>
              <a:avLst/>
              <a:gdLst>
                <a:gd name="T0" fmla="*/ 116 w 130"/>
                <a:gd name="T1" fmla="*/ 0 h 19"/>
                <a:gd name="T2" fmla="*/ 14 w 130"/>
                <a:gd name="T3" fmla="*/ 0 h 19"/>
                <a:gd name="T4" fmla="*/ 0 w 130"/>
                <a:gd name="T5" fmla="*/ 9 h 19"/>
                <a:gd name="T6" fmla="*/ 14 w 130"/>
                <a:gd name="T7" fmla="*/ 19 h 19"/>
                <a:gd name="T8" fmla="*/ 116 w 130"/>
                <a:gd name="T9" fmla="*/ 19 h 19"/>
                <a:gd name="T10" fmla="*/ 130 w 130"/>
                <a:gd name="T11" fmla="*/ 9 h 19"/>
                <a:gd name="T12" fmla="*/ 116 w 130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19">
                  <a:moveTo>
                    <a:pt x="116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4"/>
                    <a:pt x="6" y="19"/>
                    <a:pt x="14" y="19"/>
                  </a:cubicBezTo>
                  <a:cubicBezTo>
                    <a:pt x="116" y="19"/>
                    <a:pt x="116" y="19"/>
                    <a:pt x="116" y="19"/>
                  </a:cubicBezTo>
                  <a:cubicBezTo>
                    <a:pt x="124" y="19"/>
                    <a:pt x="130" y="14"/>
                    <a:pt x="130" y="9"/>
                  </a:cubicBezTo>
                  <a:cubicBezTo>
                    <a:pt x="130" y="4"/>
                    <a:pt x="124" y="0"/>
                    <a:pt x="11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52BC8291-48B5-A163-F220-9877985F42CA}"/>
              </a:ext>
            </a:extLst>
          </p:cNvPr>
          <p:cNvSpPr txBox="1">
            <a:spLocks/>
          </p:cNvSpPr>
          <p:nvPr/>
        </p:nvSpPr>
        <p:spPr>
          <a:xfrm>
            <a:off x="248330" y="1521131"/>
            <a:ext cx="11252200" cy="352874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/>
              <a:t>Outreach to Snowboarding Members …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235B77E-4769-2B4B-6B81-36CF3ECB31A6}"/>
              </a:ext>
            </a:extLst>
          </p:cNvPr>
          <p:cNvSpPr txBox="1"/>
          <p:nvPr/>
        </p:nvSpPr>
        <p:spPr>
          <a:xfrm>
            <a:off x="306244" y="1828840"/>
            <a:ext cx="1117807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/>
              <a:t>Implement digital transformation efforts to increase E-commerce and direct-to-consumer business by doing the following:</a:t>
            </a:r>
          </a:p>
        </p:txBody>
      </p:sp>
    </p:spTree>
    <p:extLst>
      <p:ext uri="{BB962C8B-B14F-4D97-AF65-F5344CB8AC3E}">
        <p14:creationId xmlns:p14="http://schemas.microsoft.com/office/powerpoint/2010/main" val="638104792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7658" y="-4416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>
            <a:normAutofit fontScale="90000"/>
          </a:bodyPr>
          <a:lstStyle/>
          <a:p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Summary of Recommendations</a:t>
            </a:r>
            <a:endParaRPr lang="en-US" b="1" dirty="0">
              <a:latin typeface="Chronicle Display Semi"/>
            </a:endParaRP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DDAB9AB4-E16A-F2BF-0A35-C9518F0441E5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1" i="0" u="none" strike="noStrike" kern="0" cap="all" spc="25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/>
              </a:rPr>
              <a:t>Recommendations</a:t>
            </a:r>
          </a:p>
        </p:txBody>
      </p:sp>
      <p:sp>
        <p:nvSpPr>
          <p:cNvPr id="29" name="Arrow: Chevron 28">
            <a:extLst>
              <a:ext uri="{FF2B5EF4-FFF2-40B4-BE49-F238E27FC236}">
                <a16:creationId xmlns:a16="http://schemas.microsoft.com/office/drawing/2014/main" id="{413C902F-17AA-3797-C5E3-8877791A42EA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2EDD28D-3AC4-8819-5E58-ED2C9901036D}"/>
              </a:ext>
            </a:extLst>
          </p:cNvPr>
          <p:cNvSpPr txBox="1">
            <a:spLocks/>
          </p:cNvSpPr>
          <p:nvPr/>
        </p:nvSpPr>
        <p:spPr>
          <a:xfrm>
            <a:off x="243933" y="873532"/>
            <a:ext cx="11252200" cy="55902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Using the insights gained on the subreddit communities, we can now put our model to use in the most effective way possible.</a:t>
            </a:r>
          </a:p>
        </p:txBody>
      </p:sp>
      <p:sp>
        <p:nvSpPr>
          <p:cNvPr id="84" name="Arrow: Chevron 83">
            <a:extLst>
              <a:ext uri="{FF2B5EF4-FFF2-40B4-BE49-F238E27FC236}">
                <a16:creationId xmlns:a16="http://schemas.microsoft.com/office/drawing/2014/main" id="{B7ADCA17-FB75-89D8-7E3F-B33FDC35E415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85" name="Arrow: Chevron 84">
            <a:extLst>
              <a:ext uri="{FF2B5EF4-FFF2-40B4-BE49-F238E27FC236}">
                <a16:creationId xmlns:a16="http://schemas.microsoft.com/office/drawing/2014/main" id="{BA10455A-4C61-8AE2-189B-883EEF4A6F8C}"/>
              </a:ext>
            </a:extLst>
          </p:cNvPr>
          <p:cNvSpPr/>
          <p:nvPr/>
        </p:nvSpPr>
        <p:spPr bwMode="gray">
          <a:xfrm>
            <a:off x="2408319" y="153822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86" name="Arrow: Chevron 85">
            <a:extLst>
              <a:ext uri="{FF2B5EF4-FFF2-40B4-BE49-F238E27FC236}">
                <a16:creationId xmlns:a16="http://schemas.microsoft.com/office/drawing/2014/main" id="{CCD7F0E7-CEE0-D380-F35E-683D332A051B}"/>
              </a:ext>
            </a:extLst>
          </p:cNvPr>
          <p:cNvSpPr/>
          <p:nvPr/>
        </p:nvSpPr>
        <p:spPr bwMode="gray">
          <a:xfrm>
            <a:off x="2695472" y="15583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87" name="Arrow: Chevron 86">
            <a:extLst>
              <a:ext uri="{FF2B5EF4-FFF2-40B4-BE49-F238E27FC236}">
                <a16:creationId xmlns:a16="http://schemas.microsoft.com/office/drawing/2014/main" id="{B224B2DF-2D1A-9621-2061-2EBEC8886AB0}"/>
              </a:ext>
            </a:extLst>
          </p:cNvPr>
          <p:cNvSpPr/>
          <p:nvPr/>
        </p:nvSpPr>
        <p:spPr bwMode="gray">
          <a:xfrm>
            <a:off x="2978570" y="161271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88" name="Arrow: Chevron 87">
            <a:extLst>
              <a:ext uri="{FF2B5EF4-FFF2-40B4-BE49-F238E27FC236}">
                <a16:creationId xmlns:a16="http://schemas.microsoft.com/office/drawing/2014/main" id="{3E4F5F08-94E1-1D43-5FC6-9E3D871E9E65}"/>
              </a:ext>
            </a:extLst>
          </p:cNvPr>
          <p:cNvSpPr/>
          <p:nvPr/>
        </p:nvSpPr>
        <p:spPr bwMode="gray">
          <a:xfrm>
            <a:off x="3265060" y="155904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89" name="Arrow: Chevron 88">
            <a:extLst>
              <a:ext uri="{FF2B5EF4-FFF2-40B4-BE49-F238E27FC236}">
                <a16:creationId xmlns:a16="http://schemas.microsoft.com/office/drawing/2014/main" id="{49086B5D-9330-CF96-B136-FF6AB927C013}"/>
              </a:ext>
            </a:extLst>
          </p:cNvPr>
          <p:cNvSpPr/>
          <p:nvPr/>
        </p:nvSpPr>
        <p:spPr bwMode="gray">
          <a:xfrm>
            <a:off x="3552213" y="157916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F0A3781-F20C-308B-2FAB-583224477338}"/>
              </a:ext>
            </a:extLst>
          </p:cNvPr>
          <p:cNvGrpSpPr/>
          <p:nvPr/>
        </p:nvGrpSpPr>
        <p:grpSpPr>
          <a:xfrm>
            <a:off x="11195247" y="308845"/>
            <a:ext cx="495298" cy="495853"/>
            <a:chOff x="7788275" y="698501"/>
            <a:chExt cx="873126" cy="1047750"/>
          </a:xfrm>
        </p:grpSpPr>
        <p:sp>
          <p:nvSpPr>
            <p:cNvPr id="5" name="Freeform 43">
              <a:extLst>
                <a:ext uri="{FF2B5EF4-FFF2-40B4-BE49-F238E27FC236}">
                  <a16:creationId xmlns:a16="http://schemas.microsoft.com/office/drawing/2014/main" id="{63CC0258-85A7-85F2-230A-8690228578D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2775" y="908051"/>
              <a:ext cx="22225" cy="77788"/>
            </a:xfrm>
            <a:custGeom>
              <a:avLst/>
              <a:gdLst>
                <a:gd name="T0" fmla="*/ 3 w 11"/>
                <a:gd name="T1" fmla="*/ 37 h 37"/>
                <a:gd name="T2" fmla="*/ 7 w 11"/>
                <a:gd name="T3" fmla="*/ 37 h 37"/>
                <a:gd name="T4" fmla="*/ 11 w 11"/>
                <a:gd name="T5" fmla="*/ 33 h 37"/>
                <a:gd name="T6" fmla="*/ 11 w 11"/>
                <a:gd name="T7" fmla="*/ 2 h 37"/>
                <a:gd name="T8" fmla="*/ 11 w 11"/>
                <a:gd name="T9" fmla="*/ 0 h 37"/>
                <a:gd name="T10" fmla="*/ 3 w 11"/>
                <a:gd name="T11" fmla="*/ 6 h 37"/>
                <a:gd name="T12" fmla="*/ 0 w 11"/>
                <a:gd name="T13" fmla="*/ 5 h 37"/>
                <a:gd name="T14" fmla="*/ 0 w 11"/>
                <a:gd name="T15" fmla="*/ 33 h 37"/>
                <a:gd name="T16" fmla="*/ 3 w 11"/>
                <a:gd name="T17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37">
                  <a:moveTo>
                    <a:pt x="3" y="37"/>
                  </a:moveTo>
                  <a:cubicBezTo>
                    <a:pt x="7" y="37"/>
                    <a:pt x="7" y="37"/>
                    <a:pt x="7" y="37"/>
                  </a:cubicBezTo>
                  <a:cubicBezTo>
                    <a:pt x="9" y="37"/>
                    <a:pt x="11" y="35"/>
                    <a:pt x="11" y="3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0"/>
                  </a:cubicBezTo>
                  <a:cubicBezTo>
                    <a:pt x="6" y="4"/>
                    <a:pt x="3" y="6"/>
                    <a:pt x="3" y="6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5"/>
                    <a:pt x="1" y="37"/>
                    <a:pt x="3" y="3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" name="Freeform 44">
              <a:extLst>
                <a:ext uri="{FF2B5EF4-FFF2-40B4-BE49-F238E27FC236}">
                  <a16:creationId xmlns:a16="http://schemas.microsoft.com/office/drawing/2014/main" id="{853727BF-634A-EC8E-EDDF-0CC45C21B3B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07375" y="784226"/>
              <a:ext cx="298450" cy="241300"/>
            </a:xfrm>
            <a:custGeom>
              <a:avLst/>
              <a:gdLst>
                <a:gd name="T0" fmla="*/ 2 w 142"/>
                <a:gd name="T1" fmla="*/ 115 h 115"/>
                <a:gd name="T2" fmla="*/ 139 w 142"/>
                <a:gd name="T3" fmla="*/ 115 h 115"/>
                <a:gd name="T4" fmla="*/ 142 w 142"/>
                <a:gd name="T5" fmla="*/ 112 h 115"/>
                <a:gd name="T6" fmla="*/ 139 w 142"/>
                <a:gd name="T7" fmla="*/ 108 h 115"/>
                <a:gd name="T8" fmla="*/ 8 w 142"/>
                <a:gd name="T9" fmla="*/ 108 h 115"/>
                <a:gd name="T10" fmla="*/ 5 w 142"/>
                <a:gd name="T11" fmla="*/ 104 h 115"/>
                <a:gd name="T12" fmla="*/ 5 w 142"/>
                <a:gd name="T13" fmla="*/ 4 h 115"/>
                <a:gd name="T14" fmla="*/ 2 w 142"/>
                <a:gd name="T15" fmla="*/ 0 h 115"/>
                <a:gd name="T16" fmla="*/ 0 w 142"/>
                <a:gd name="T17" fmla="*/ 4 h 115"/>
                <a:gd name="T18" fmla="*/ 0 w 142"/>
                <a:gd name="T19" fmla="*/ 112 h 115"/>
                <a:gd name="T20" fmla="*/ 2 w 142"/>
                <a:gd name="T21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2" h="115">
                  <a:moveTo>
                    <a:pt x="2" y="115"/>
                  </a:moveTo>
                  <a:cubicBezTo>
                    <a:pt x="139" y="115"/>
                    <a:pt x="139" y="115"/>
                    <a:pt x="139" y="115"/>
                  </a:cubicBezTo>
                  <a:cubicBezTo>
                    <a:pt x="140" y="115"/>
                    <a:pt x="142" y="113"/>
                    <a:pt x="142" y="112"/>
                  </a:cubicBezTo>
                  <a:cubicBezTo>
                    <a:pt x="142" y="110"/>
                    <a:pt x="140" y="108"/>
                    <a:pt x="139" y="108"/>
                  </a:cubicBezTo>
                  <a:cubicBezTo>
                    <a:pt x="8" y="108"/>
                    <a:pt x="8" y="108"/>
                    <a:pt x="8" y="108"/>
                  </a:cubicBezTo>
                  <a:cubicBezTo>
                    <a:pt x="6" y="108"/>
                    <a:pt x="5" y="106"/>
                    <a:pt x="5" y="10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2"/>
                    <a:pt x="4" y="0"/>
                    <a:pt x="2" y="0"/>
                  </a:cubicBezTo>
                  <a:cubicBezTo>
                    <a:pt x="1" y="0"/>
                    <a:pt x="0" y="2"/>
                    <a:pt x="0" y="4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3"/>
                    <a:pt x="1" y="115"/>
                    <a:pt x="2" y="11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" name="Freeform 45">
              <a:extLst>
                <a:ext uri="{FF2B5EF4-FFF2-40B4-BE49-F238E27FC236}">
                  <a16:creationId xmlns:a16="http://schemas.microsoft.com/office/drawing/2014/main" id="{0EC557F7-993A-476F-DD64-024073C32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0425" y="809626"/>
              <a:ext cx="25400" cy="176213"/>
            </a:xfrm>
            <a:custGeom>
              <a:avLst/>
              <a:gdLst>
                <a:gd name="T0" fmla="*/ 9 w 12"/>
                <a:gd name="T1" fmla="*/ 0 h 84"/>
                <a:gd name="T2" fmla="*/ 3 w 12"/>
                <a:gd name="T3" fmla="*/ 9 h 84"/>
                <a:gd name="T4" fmla="*/ 0 w 12"/>
                <a:gd name="T5" fmla="*/ 10 h 84"/>
                <a:gd name="T6" fmla="*/ 0 w 12"/>
                <a:gd name="T7" fmla="*/ 76 h 84"/>
                <a:gd name="T8" fmla="*/ 4 w 12"/>
                <a:gd name="T9" fmla="*/ 84 h 84"/>
                <a:gd name="T10" fmla="*/ 8 w 12"/>
                <a:gd name="T11" fmla="*/ 84 h 84"/>
                <a:gd name="T12" fmla="*/ 12 w 12"/>
                <a:gd name="T13" fmla="*/ 76 h 84"/>
                <a:gd name="T14" fmla="*/ 12 w 12"/>
                <a:gd name="T15" fmla="*/ 8 h 84"/>
                <a:gd name="T16" fmla="*/ 9 w 12"/>
                <a:gd name="T17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84">
                  <a:moveTo>
                    <a:pt x="9" y="0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2" y="10"/>
                    <a:pt x="1" y="10"/>
                    <a:pt x="0" y="1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80"/>
                    <a:pt x="2" y="84"/>
                    <a:pt x="4" y="84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10" y="84"/>
                    <a:pt x="12" y="80"/>
                    <a:pt x="12" y="76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4"/>
                    <a:pt x="10" y="1"/>
                    <a:pt x="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" name="Freeform 46">
              <a:extLst>
                <a:ext uri="{FF2B5EF4-FFF2-40B4-BE49-F238E27FC236}">
                  <a16:creationId xmlns:a16="http://schemas.microsoft.com/office/drawing/2014/main" id="{F2B5B7B4-03DD-6178-1A00-E226F06900D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2775" y="777876"/>
              <a:ext cx="273050" cy="133350"/>
            </a:xfrm>
            <a:custGeom>
              <a:avLst/>
              <a:gdLst>
                <a:gd name="T0" fmla="*/ 0 w 130"/>
                <a:gd name="T1" fmla="*/ 62 h 63"/>
                <a:gd name="T2" fmla="*/ 2 w 130"/>
                <a:gd name="T3" fmla="*/ 63 h 63"/>
                <a:gd name="T4" fmla="*/ 51 w 130"/>
                <a:gd name="T5" fmla="*/ 28 h 63"/>
                <a:gd name="T6" fmla="*/ 53 w 130"/>
                <a:gd name="T7" fmla="*/ 29 h 63"/>
                <a:gd name="T8" fmla="*/ 61 w 130"/>
                <a:gd name="T9" fmla="*/ 51 h 63"/>
                <a:gd name="T10" fmla="*/ 63 w 130"/>
                <a:gd name="T11" fmla="*/ 52 h 63"/>
                <a:gd name="T12" fmla="*/ 120 w 130"/>
                <a:gd name="T13" fmla="*/ 11 h 63"/>
                <a:gd name="T14" fmla="*/ 117 w 130"/>
                <a:gd name="T15" fmla="*/ 16 h 63"/>
                <a:gd name="T16" fmla="*/ 117 w 130"/>
                <a:gd name="T17" fmla="*/ 19 h 63"/>
                <a:gd name="T18" fmla="*/ 117 w 130"/>
                <a:gd name="T19" fmla="*/ 19 h 63"/>
                <a:gd name="T20" fmla="*/ 120 w 130"/>
                <a:gd name="T21" fmla="*/ 19 h 63"/>
                <a:gd name="T22" fmla="*/ 129 w 130"/>
                <a:gd name="T23" fmla="*/ 4 h 63"/>
                <a:gd name="T24" fmla="*/ 129 w 130"/>
                <a:gd name="T25" fmla="*/ 2 h 63"/>
                <a:gd name="T26" fmla="*/ 128 w 130"/>
                <a:gd name="T27" fmla="*/ 0 h 63"/>
                <a:gd name="T28" fmla="*/ 113 w 130"/>
                <a:gd name="T29" fmla="*/ 3 h 63"/>
                <a:gd name="T30" fmla="*/ 112 w 130"/>
                <a:gd name="T31" fmla="*/ 6 h 63"/>
                <a:gd name="T32" fmla="*/ 112 w 130"/>
                <a:gd name="T33" fmla="*/ 6 h 63"/>
                <a:gd name="T34" fmla="*/ 114 w 130"/>
                <a:gd name="T35" fmla="*/ 8 h 63"/>
                <a:gd name="T36" fmla="*/ 118 w 130"/>
                <a:gd name="T37" fmla="*/ 7 h 63"/>
                <a:gd name="T38" fmla="*/ 65 w 130"/>
                <a:gd name="T39" fmla="*/ 45 h 63"/>
                <a:gd name="T40" fmla="*/ 63 w 130"/>
                <a:gd name="T41" fmla="*/ 44 h 63"/>
                <a:gd name="T42" fmla="*/ 56 w 130"/>
                <a:gd name="T43" fmla="*/ 26 h 63"/>
                <a:gd name="T44" fmla="*/ 54 w 130"/>
                <a:gd name="T45" fmla="*/ 22 h 63"/>
                <a:gd name="T46" fmla="*/ 52 w 130"/>
                <a:gd name="T47" fmla="*/ 22 h 63"/>
                <a:gd name="T48" fmla="*/ 1 w 130"/>
                <a:gd name="T49" fmla="*/ 58 h 63"/>
                <a:gd name="T50" fmla="*/ 0 w 130"/>
                <a:gd name="T51" fmla="*/ 61 h 63"/>
                <a:gd name="T52" fmla="*/ 0 w 130"/>
                <a:gd name="T53" fmla="*/ 6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0" h="63">
                  <a:moveTo>
                    <a:pt x="0" y="62"/>
                  </a:moveTo>
                  <a:cubicBezTo>
                    <a:pt x="1" y="63"/>
                    <a:pt x="2" y="63"/>
                    <a:pt x="2" y="63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2" y="28"/>
                    <a:pt x="53" y="28"/>
                    <a:pt x="53" y="29"/>
                  </a:cubicBezTo>
                  <a:cubicBezTo>
                    <a:pt x="61" y="51"/>
                    <a:pt x="61" y="51"/>
                    <a:pt x="61" y="51"/>
                  </a:cubicBezTo>
                  <a:cubicBezTo>
                    <a:pt x="62" y="52"/>
                    <a:pt x="63" y="52"/>
                    <a:pt x="63" y="52"/>
                  </a:cubicBezTo>
                  <a:cubicBezTo>
                    <a:pt x="120" y="11"/>
                    <a:pt x="120" y="11"/>
                    <a:pt x="120" y="11"/>
                  </a:cubicBezTo>
                  <a:cubicBezTo>
                    <a:pt x="117" y="16"/>
                    <a:pt x="117" y="16"/>
                    <a:pt x="117" y="16"/>
                  </a:cubicBezTo>
                  <a:cubicBezTo>
                    <a:pt x="116" y="17"/>
                    <a:pt x="117" y="18"/>
                    <a:pt x="117" y="19"/>
                  </a:cubicBezTo>
                  <a:cubicBezTo>
                    <a:pt x="117" y="19"/>
                    <a:pt x="117" y="19"/>
                    <a:pt x="117" y="19"/>
                  </a:cubicBezTo>
                  <a:cubicBezTo>
                    <a:pt x="118" y="20"/>
                    <a:pt x="119" y="20"/>
                    <a:pt x="120" y="19"/>
                  </a:cubicBezTo>
                  <a:cubicBezTo>
                    <a:pt x="129" y="4"/>
                    <a:pt x="129" y="4"/>
                    <a:pt x="129" y="4"/>
                  </a:cubicBezTo>
                  <a:cubicBezTo>
                    <a:pt x="130" y="4"/>
                    <a:pt x="130" y="3"/>
                    <a:pt x="129" y="2"/>
                  </a:cubicBezTo>
                  <a:cubicBezTo>
                    <a:pt x="129" y="1"/>
                    <a:pt x="128" y="0"/>
                    <a:pt x="128" y="0"/>
                  </a:cubicBezTo>
                  <a:cubicBezTo>
                    <a:pt x="113" y="3"/>
                    <a:pt x="113" y="3"/>
                    <a:pt x="113" y="3"/>
                  </a:cubicBezTo>
                  <a:cubicBezTo>
                    <a:pt x="113" y="3"/>
                    <a:pt x="112" y="4"/>
                    <a:pt x="112" y="6"/>
                  </a:cubicBezTo>
                  <a:cubicBezTo>
                    <a:pt x="112" y="6"/>
                    <a:pt x="112" y="6"/>
                    <a:pt x="112" y="6"/>
                  </a:cubicBezTo>
                  <a:cubicBezTo>
                    <a:pt x="112" y="7"/>
                    <a:pt x="113" y="8"/>
                    <a:pt x="114" y="8"/>
                  </a:cubicBezTo>
                  <a:cubicBezTo>
                    <a:pt x="118" y="7"/>
                    <a:pt x="118" y="7"/>
                    <a:pt x="118" y="7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4" y="46"/>
                    <a:pt x="63" y="45"/>
                    <a:pt x="63" y="44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55" y="25"/>
                    <a:pt x="55" y="23"/>
                    <a:pt x="54" y="22"/>
                  </a:cubicBezTo>
                  <a:cubicBezTo>
                    <a:pt x="54" y="21"/>
                    <a:pt x="53" y="21"/>
                    <a:pt x="52" y="22"/>
                  </a:cubicBezTo>
                  <a:cubicBezTo>
                    <a:pt x="1" y="58"/>
                    <a:pt x="1" y="58"/>
                    <a:pt x="1" y="58"/>
                  </a:cubicBezTo>
                  <a:cubicBezTo>
                    <a:pt x="0" y="59"/>
                    <a:pt x="0" y="60"/>
                    <a:pt x="0" y="61"/>
                  </a:cubicBezTo>
                  <a:lnTo>
                    <a:pt x="0" y="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Freeform 47">
              <a:extLst>
                <a:ext uri="{FF2B5EF4-FFF2-40B4-BE49-F238E27FC236}">
                  <a16:creationId xmlns:a16="http://schemas.microsoft.com/office/drawing/2014/main" id="{576E682A-23F4-B5EB-B54F-5ACCA9F1BA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6900" y="1103313"/>
              <a:ext cx="293688" cy="38100"/>
            </a:xfrm>
            <a:custGeom>
              <a:avLst/>
              <a:gdLst>
                <a:gd name="T0" fmla="*/ 125 w 139"/>
                <a:gd name="T1" fmla="*/ 0 h 18"/>
                <a:gd name="T2" fmla="*/ 14 w 139"/>
                <a:gd name="T3" fmla="*/ 0 h 18"/>
                <a:gd name="T4" fmla="*/ 0 w 139"/>
                <a:gd name="T5" fmla="*/ 9 h 18"/>
                <a:gd name="T6" fmla="*/ 14 w 139"/>
                <a:gd name="T7" fmla="*/ 18 h 18"/>
                <a:gd name="T8" fmla="*/ 125 w 139"/>
                <a:gd name="T9" fmla="*/ 18 h 18"/>
                <a:gd name="T10" fmla="*/ 139 w 139"/>
                <a:gd name="T11" fmla="*/ 9 h 18"/>
                <a:gd name="T12" fmla="*/ 125 w 139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18">
                  <a:moveTo>
                    <a:pt x="125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4"/>
                    <a:pt x="7" y="18"/>
                    <a:pt x="14" y="18"/>
                  </a:cubicBezTo>
                  <a:cubicBezTo>
                    <a:pt x="125" y="18"/>
                    <a:pt x="125" y="18"/>
                    <a:pt x="125" y="18"/>
                  </a:cubicBezTo>
                  <a:cubicBezTo>
                    <a:pt x="132" y="18"/>
                    <a:pt x="139" y="14"/>
                    <a:pt x="139" y="9"/>
                  </a:cubicBezTo>
                  <a:cubicBezTo>
                    <a:pt x="139" y="4"/>
                    <a:pt x="132" y="0"/>
                    <a:pt x="12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Freeform 48">
              <a:extLst>
                <a:ext uri="{FF2B5EF4-FFF2-40B4-BE49-F238E27FC236}">
                  <a16:creationId xmlns:a16="http://schemas.microsoft.com/office/drawing/2014/main" id="{0FCDA267-D362-C9FA-D7DA-5A2916EC78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6900" y="1182688"/>
              <a:ext cx="293688" cy="36513"/>
            </a:xfrm>
            <a:custGeom>
              <a:avLst/>
              <a:gdLst>
                <a:gd name="T0" fmla="*/ 125 w 139"/>
                <a:gd name="T1" fmla="*/ 0 h 18"/>
                <a:gd name="T2" fmla="*/ 14 w 139"/>
                <a:gd name="T3" fmla="*/ 0 h 18"/>
                <a:gd name="T4" fmla="*/ 0 w 139"/>
                <a:gd name="T5" fmla="*/ 9 h 18"/>
                <a:gd name="T6" fmla="*/ 14 w 139"/>
                <a:gd name="T7" fmla="*/ 18 h 18"/>
                <a:gd name="T8" fmla="*/ 125 w 139"/>
                <a:gd name="T9" fmla="*/ 18 h 18"/>
                <a:gd name="T10" fmla="*/ 139 w 139"/>
                <a:gd name="T11" fmla="*/ 9 h 18"/>
                <a:gd name="T12" fmla="*/ 125 w 139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18">
                  <a:moveTo>
                    <a:pt x="125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4"/>
                    <a:pt x="7" y="18"/>
                    <a:pt x="14" y="18"/>
                  </a:cubicBezTo>
                  <a:cubicBezTo>
                    <a:pt x="125" y="18"/>
                    <a:pt x="125" y="18"/>
                    <a:pt x="125" y="18"/>
                  </a:cubicBezTo>
                  <a:cubicBezTo>
                    <a:pt x="132" y="18"/>
                    <a:pt x="139" y="14"/>
                    <a:pt x="139" y="9"/>
                  </a:cubicBezTo>
                  <a:cubicBezTo>
                    <a:pt x="139" y="4"/>
                    <a:pt x="132" y="0"/>
                    <a:pt x="12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49">
              <a:extLst>
                <a:ext uri="{FF2B5EF4-FFF2-40B4-BE49-F238E27FC236}">
                  <a16:creationId xmlns:a16="http://schemas.microsoft.com/office/drawing/2014/main" id="{451EC786-9C95-66D6-D889-CBC8AB1D63F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3738" y="849313"/>
              <a:ext cx="25400" cy="136525"/>
            </a:xfrm>
            <a:custGeom>
              <a:avLst/>
              <a:gdLst>
                <a:gd name="T0" fmla="*/ 0 w 12"/>
                <a:gd name="T1" fmla="*/ 59 h 65"/>
                <a:gd name="T2" fmla="*/ 4 w 12"/>
                <a:gd name="T3" fmla="*/ 65 h 65"/>
                <a:gd name="T4" fmla="*/ 8 w 12"/>
                <a:gd name="T5" fmla="*/ 65 h 65"/>
                <a:gd name="T6" fmla="*/ 12 w 12"/>
                <a:gd name="T7" fmla="*/ 59 h 65"/>
                <a:gd name="T8" fmla="*/ 12 w 12"/>
                <a:gd name="T9" fmla="*/ 4 h 65"/>
                <a:gd name="T10" fmla="*/ 11 w 12"/>
                <a:gd name="T11" fmla="*/ 0 h 65"/>
                <a:gd name="T12" fmla="*/ 0 w 12"/>
                <a:gd name="T13" fmla="*/ 8 h 65"/>
                <a:gd name="T14" fmla="*/ 0 w 12"/>
                <a:gd name="T15" fmla="*/ 59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65">
                  <a:moveTo>
                    <a:pt x="0" y="59"/>
                  </a:moveTo>
                  <a:cubicBezTo>
                    <a:pt x="0" y="62"/>
                    <a:pt x="2" y="65"/>
                    <a:pt x="4" y="65"/>
                  </a:cubicBezTo>
                  <a:cubicBezTo>
                    <a:pt x="8" y="65"/>
                    <a:pt x="8" y="65"/>
                    <a:pt x="8" y="65"/>
                  </a:cubicBezTo>
                  <a:cubicBezTo>
                    <a:pt x="10" y="65"/>
                    <a:pt x="12" y="62"/>
                    <a:pt x="12" y="59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3"/>
                    <a:pt x="11" y="1"/>
                    <a:pt x="11" y="0"/>
                  </a:cubicBezTo>
                  <a:cubicBezTo>
                    <a:pt x="9" y="2"/>
                    <a:pt x="5" y="5"/>
                    <a:pt x="0" y="8"/>
                  </a:cubicBezTo>
                  <a:lnTo>
                    <a:pt x="0" y="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50">
              <a:extLst>
                <a:ext uri="{FF2B5EF4-FFF2-40B4-BE49-F238E27FC236}">
                  <a16:creationId xmlns:a16="http://schemas.microsoft.com/office/drawing/2014/main" id="{CB278597-BB9C-0F0F-7029-A11511225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6600" y="887413"/>
              <a:ext cx="23813" cy="98425"/>
            </a:xfrm>
            <a:custGeom>
              <a:avLst/>
              <a:gdLst>
                <a:gd name="T0" fmla="*/ 1 w 11"/>
                <a:gd name="T1" fmla="*/ 3 h 47"/>
                <a:gd name="T2" fmla="*/ 0 w 11"/>
                <a:gd name="T3" fmla="*/ 1 h 47"/>
                <a:gd name="T4" fmla="*/ 0 w 11"/>
                <a:gd name="T5" fmla="*/ 1 h 47"/>
                <a:gd name="T6" fmla="*/ 0 w 11"/>
                <a:gd name="T7" fmla="*/ 42 h 47"/>
                <a:gd name="T8" fmla="*/ 3 w 11"/>
                <a:gd name="T9" fmla="*/ 47 h 47"/>
                <a:gd name="T10" fmla="*/ 8 w 11"/>
                <a:gd name="T11" fmla="*/ 47 h 47"/>
                <a:gd name="T12" fmla="*/ 11 w 11"/>
                <a:gd name="T13" fmla="*/ 42 h 47"/>
                <a:gd name="T14" fmla="*/ 11 w 11"/>
                <a:gd name="T15" fmla="*/ 1 h 47"/>
                <a:gd name="T16" fmla="*/ 11 w 11"/>
                <a:gd name="T17" fmla="*/ 0 h 47"/>
                <a:gd name="T18" fmla="*/ 5 w 11"/>
                <a:gd name="T19" fmla="*/ 5 h 47"/>
                <a:gd name="T20" fmla="*/ 1 w 11"/>
                <a:gd name="T21" fmla="*/ 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47">
                  <a:moveTo>
                    <a:pt x="1" y="3"/>
                  </a:moveTo>
                  <a:cubicBezTo>
                    <a:pt x="1" y="3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5"/>
                    <a:pt x="1" y="47"/>
                    <a:pt x="3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10" y="47"/>
                    <a:pt x="11" y="45"/>
                    <a:pt x="11" y="42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8" y="3"/>
                    <a:pt x="5" y="5"/>
                    <a:pt x="5" y="5"/>
                  </a:cubicBezTo>
                  <a:cubicBezTo>
                    <a:pt x="3" y="6"/>
                    <a:pt x="1" y="5"/>
                    <a:pt x="1" y="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51">
              <a:extLst>
                <a:ext uri="{FF2B5EF4-FFF2-40B4-BE49-F238E27FC236}">
                  <a16:creationId xmlns:a16="http://schemas.microsoft.com/office/drawing/2014/main" id="{4285CA8D-43E3-EE04-B6C5-A0126B5DFE4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463" y="879476"/>
              <a:ext cx="25400" cy="106363"/>
            </a:xfrm>
            <a:custGeom>
              <a:avLst/>
              <a:gdLst>
                <a:gd name="T0" fmla="*/ 0 w 12"/>
                <a:gd name="T1" fmla="*/ 46 h 51"/>
                <a:gd name="T2" fmla="*/ 4 w 12"/>
                <a:gd name="T3" fmla="*/ 51 h 51"/>
                <a:gd name="T4" fmla="*/ 8 w 12"/>
                <a:gd name="T5" fmla="*/ 51 h 51"/>
                <a:gd name="T6" fmla="*/ 12 w 12"/>
                <a:gd name="T7" fmla="*/ 46 h 51"/>
                <a:gd name="T8" fmla="*/ 12 w 12"/>
                <a:gd name="T9" fmla="*/ 3 h 51"/>
                <a:gd name="T10" fmla="*/ 11 w 12"/>
                <a:gd name="T11" fmla="*/ 0 h 51"/>
                <a:gd name="T12" fmla="*/ 0 w 12"/>
                <a:gd name="T13" fmla="*/ 8 h 51"/>
                <a:gd name="T14" fmla="*/ 0 w 12"/>
                <a:gd name="T15" fmla="*/ 4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51">
                  <a:moveTo>
                    <a:pt x="0" y="46"/>
                  </a:moveTo>
                  <a:cubicBezTo>
                    <a:pt x="0" y="49"/>
                    <a:pt x="2" y="51"/>
                    <a:pt x="4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10" y="51"/>
                    <a:pt x="12" y="49"/>
                    <a:pt x="12" y="46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2"/>
                    <a:pt x="12" y="1"/>
                    <a:pt x="11" y="0"/>
                  </a:cubicBezTo>
                  <a:cubicBezTo>
                    <a:pt x="8" y="3"/>
                    <a:pt x="4" y="6"/>
                    <a:pt x="0" y="8"/>
                  </a:cubicBezTo>
                  <a:lnTo>
                    <a:pt x="0" y="4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52">
              <a:extLst>
                <a:ext uri="{FF2B5EF4-FFF2-40B4-BE49-F238E27FC236}">
                  <a16:creationId xmlns:a16="http://schemas.microsoft.com/office/drawing/2014/main" id="{9E07FA66-BA84-3744-24F3-C05A308E4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9150" y="830263"/>
              <a:ext cx="25400" cy="155575"/>
            </a:xfrm>
            <a:custGeom>
              <a:avLst/>
              <a:gdLst>
                <a:gd name="T0" fmla="*/ 0 w 12"/>
                <a:gd name="T1" fmla="*/ 67 h 74"/>
                <a:gd name="T2" fmla="*/ 4 w 12"/>
                <a:gd name="T3" fmla="*/ 74 h 74"/>
                <a:gd name="T4" fmla="*/ 8 w 12"/>
                <a:gd name="T5" fmla="*/ 74 h 74"/>
                <a:gd name="T6" fmla="*/ 12 w 12"/>
                <a:gd name="T7" fmla="*/ 67 h 74"/>
                <a:gd name="T8" fmla="*/ 12 w 12"/>
                <a:gd name="T9" fmla="*/ 4 h 74"/>
                <a:gd name="T10" fmla="*/ 11 w 12"/>
                <a:gd name="T11" fmla="*/ 0 h 74"/>
                <a:gd name="T12" fmla="*/ 0 w 12"/>
                <a:gd name="T13" fmla="*/ 7 h 74"/>
                <a:gd name="T14" fmla="*/ 0 w 12"/>
                <a:gd name="T15" fmla="*/ 67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74">
                  <a:moveTo>
                    <a:pt x="0" y="67"/>
                  </a:moveTo>
                  <a:cubicBezTo>
                    <a:pt x="0" y="71"/>
                    <a:pt x="2" y="74"/>
                    <a:pt x="4" y="74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10" y="74"/>
                    <a:pt x="12" y="71"/>
                    <a:pt x="12" y="67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3"/>
                    <a:pt x="12" y="1"/>
                    <a:pt x="11" y="0"/>
                  </a:cubicBezTo>
                  <a:cubicBezTo>
                    <a:pt x="8" y="2"/>
                    <a:pt x="4" y="5"/>
                    <a:pt x="0" y="7"/>
                  </a:cubicBezTo>
                  <a:lnTo>
                    <a:pt x="0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53">
              <a:extLst>
                <a:ext uri="{FF2B5EF4-FFF2-40B4-BE49-F238E27FC236}">
                  <a16:creationId xmlns:a16="http://schemas.microsoft.com/office/drawing/2014/main" id="{7C2793FC-DDD6-6B5D-FD55-2FC0F66DE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9463" y="860426"/>
              <a:ext cx="22225" cy="125413"/>
            </a:xfrm>
            <a:custGeom>
              <a:avLst/>
              <a:gdLst>
                <a:gd name="T0" fmla="*/ 0 w 11"/>
                <a:gd name="T1" fmla="*/ 54 h 60"/>
                <a:gd name="T2" fmla="*/ 3 w 11"/>
                <a:gd name="T3" fmla="*/ 60 h 60"/>
                <a:gd name="T4" fmla="*/ 7 w 11"/>
                <a:gd name="T5" fmla="*/ 60 h 60"/>
                <a:gd name="T6" fmla="*/ 11 w 11"/>
                <a:gd name="T7" fmla="*/ 54 h 60"/>
                <a:gd name="T8" fmla="*/ 11 w 11"/>
                <a:gd name="T9" fmla="*/ 3 h 60"/>
                <a:gd name="T10" fmla="*/ 10 w 11"/>
                <a:gd name="T11" fmla="*/ 0 h 60"/>
                <a:gd name="T12" fmla="*/ 0 w 11"/>
                <a:gd name="T13" fmla="*/ 8 h 60"/>
                <a:gd name="T14" fmla="*/ 0 w 11"/>
                <a:gd name="T15" fmla="*/ 5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60">
                  <a:moveTo>
                    <a:pt x="0" y="54"/>
                  </a:moveTo>
                  <a:cubicBezTo>
                    <a:pt x="0" y="57"/>
                    <a:pt x="1" y="60"/>
                    <a:pt x="3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9" y="60"/>
                    <a:pt x="11" y="57"/>
                    <a:pt x="11" y="5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2"/>
                    <a:pt x="11" y="1"/>
                    <a:pt x="10" y="0"/>
                  </a:cubicBezTo>
                  <a:cubicBezTo>
                    <a:pt x="7" y="2"/>
                    <a:pt x="3" y="5"/>
                    <a:pt x="0" y="8"/>
                  </a:cubicBezTo>
                  <a:lnTo>
                    <a:pt x="0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54">
              <a:extLst>
                <a:ext uri="{FF2B5EF4-FFF2-40B4-BE49-F238E27FC236}">
                  <a16:creationId xmlns:a16="http://schemas.microsoft.com/office/drawing/2014/main" id="{9F24AE6D-25CD-E6C5-7896-C6BF7E1587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88275" y="698501"/>
              <a:ext cx="873126" cy="1047750"/>
            </a:xfrm>
            <a:custGeom>
              <a:avLst/>
              <a:gdLst>
                <a:gd name="T0" fmla="*/ 413 w 415"/>
                <a:gd name="T1" fmla="*/ 480 h 498"/>
                <a:gd name="T2" fmla="*/ 345 w 415"/>
                <a:gd name="T3" fmla="*/ 294 h 498"/>
                <a:gd name="T4" fmla="*/ 371 w 415"/>
                <a:gd name="T5" fmla="*/ 294 h 498"/>
                <a:gd name="T6" fmla="*/ 391 w 415"/>
                <a:gd name="T7" fmla="*/ 274 h 498"/>
                <a:gd name="T8" fmla="*/ 391 w 415"/>
                <a:gd name="T9" fmla="*/ 20 h 498"/>
                <a:gd name="T10" fmla="*/ 371 w 415"/>
                <a:gd name="T11" fmla="*/ 0 h 498"/>
                <a:gd name="T12" fmla="*/ 311 w 415"/>
                <a:gd name="T13" fmla="*/ 0 h 498"/>
                <a:gd name="T14" fmla="*/ 103 w 415"/>
                <a:gd name="T15" fmla="*/ 0 h 498"/>
                <a:gd name="T16" fmla="*/ 44 w 415"/>
                <a:gd name="T17" fmla="*/ 0 h 498"/>
                <a:gd name="T18" fmla="*/ 23 w 415"/>
                <a:gd name="T19" fmla="*/ 20 h 498"/>
                <a:gd name="T20" fmla="*/ 23 w 415"/>
                <a:gd name="T21" fmla="*/ 274 h 498"/>
                <a:gd name="T22" fmla="*/ 44 w 415"/>
                <a:gd name="T23" fmla="*/ 294 h 498"/>
                <a:gd name="T24" fmla="*/ 70 w 415"/>
                <a:gd name="T25" fmla="*/ 294 h 498"/>
                <a:gd name="T26" fmla="*/ 2 w 415"/>
                <a:gd name="T27" fmla="*/ 480 h 498"/>
                <a:gd name="T28" fmla="*/ 8 w 415"/>
                <a:gd name="T29" fmla="*/ 493 h 498"/>
                <a:gd name="T30" fmla="*/ 15 w 415"/>
                <a:gd name="T31" fmla="*/ 496 h 498"/>
                <a:gd name="T32" fmla="*/ 28 w 415"/>
                <a:gd name="T33" fmla="*/ 490 h 498"/>
                <a:gd name="T34" fmla="*/ 99 w 415"/>
                <a:gd name="T35" fmla="*/ 294 h 498"/>
                <a:gd name="T36" fmla="*/ 192 w 415"/>
                <a:gd name="T37" fmla="*/ 294 h 498"/>
                <a:gd name="T38" fmla="*/ 193 w 415"/>
                <a:gd name="T39" fmla="*/ 294 h 498"/>
                <a:gd name="T40" fmla="*/ 193 w 415"/>
                <a:gd name="T41" fmla="*/ 409 h 498"/>
                <a:gd name="T42" fmla="*/ 203 w 415"/>
                <a:gd name="T43" fmla="*/ 415 h 498"/>
                <a:gd name="T44" fmla="*/ 204 w 415"/>
                <a:gd name="T45" fmla="*/ 415 h 498"/>
                <a:gd name="T46" fmla="*/ 211 w 415"/>
                <a:gd name="T47" fmla="*/ 415 h 498"/>
                <a:gd name="T48" fmla="*/ 211 w 415"/>
                <a:gd name="T49" fmla="*/ 415 h 498"/>
                <a:gd name="T50" fmla="*/ 221 w 415"/>
                <a:gd name="T51" fmla="*/ 409 h 498"/>
                <a:gd name="T52" fmla="*/ 221 w 415"/>
                <a:gd name="T53" fmla="*/ 294 h 498"/>
                <a:gd name="T54" fmla="*/ 223 w 415"/>
                <a:gd name="T55" fmla="*/ 294 h 498"/>
                <a:gd name="T56" fmla="*/ 315 w 415"/>
                <a:gd name="T57" fmla="*/ 294 h 498"/>
                <a:gd name="T58" fmla="*/ 387 w 415"/>
                <a:gd name="T59" fmla="*/ 490 h 498"/>
                <a:gd name="T60" fmla="*/ 400 w 415"/>
                <a:gd name="T61" fmla="*/ 496 h 498"/>
                <a:gd name="T62" fmla="*/ 406 w 415"/>
                <a:gd name="T63" fmla="*/ 493 h 498"/>
                <a:gd name="T64" fmla="*/ 413 w 415"/>
                <a:gd name="T65" fmla="*/ 480 h 498"/>
                <a:gd name="T66" fmla="*/ 222 w 415"/>
                <a:gd name="T67" fmla="*/ 274 h 498"/>
                <a:gd name="T68" fmla="*/ 192 w 415"/>
                <a:gd name="T69" fmla="*/ 274 h 498"/>
                <a:gd name="T70" fmla="*/ 44 w 415"/>
                <a:gd name="T71" fmla="*/ 274 h 498"/>
                <a:gd name="T72" fmla="*/ 44 w 415"/>
                <a:gd name="T73" fmla="*/ 20 h 498"/>
                <a:gd name="T74" fmla="*/ 116 w 415"/>
                <a:gd name="T75" fmla="*/ 20 h 498"/>
                <a:gd name="T76" fmla="*/ 298 w 415"/>
                <a:gd name="T77" fmla="*/ 20 h 498"/>
                <a:gd name="T78" fmla="*/ 371 w 415"/>
                <a:gd name="T79" fmla="*/ 20 h 498"/>
                <a:gd name="T80" fmla="*/ 371 w 415"/>
                <a:gd name="T81" fmla="*/ 274 h 498"/>
                <a:gd name="T82" fmla="*/ 222 w 415"/>
                <a:gd name="T83" fmla="*/ 274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15" h="498">
                  <a:moveTo>
                    <a:pt x="413" y="480"/>
                  </a:moveTo>
                  <a:cubicBezTo>
                    <a:pt x="345" y="294"/>
                    <a:pt x="345" y="294"/>
                    <a:pt x="345" y="294"/>
                  </a:cubicBezTo>
                  <a:cubicBezTo>
                    <a:pt x="371" y="294"/>
                    <a:pt x="371" y="294"/>
                    <a:pt x="371" y="294"/>
                  </a:cubicBezTo>
                  <a:cubicBezTo>
                    <a:pt x="382" y="294"/>
                    <a:pt x="391" y="285"/>
                    <a:pt x="391" y="274"/>
                  </a:cubicBezTo>
                  <a:cubicBezTo>
                    <a:pt x="391" y="20"/>
                    <a:pt x="391" y="20"/>
                    <a:pt x="391" y="20"/>
                  </a:cubicBezTo>
                  <a:cubicBezTo>
                    <a:pt x="391" y="9"/>
                    <a:pt x="382" y="0"/>
                    <a:pt x="371" y="0"/>
                  </a:cubicBezTo>
                  <a:cubicBezTo>
                    <a:pt x="311" y="0"/>
                    <a:pt x="311" y="0"/>
                    <a:pt x="311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32" y="0"/>
                    <a:pt x="23" y="9"/>
                    <a:pt x="23" y="20"/>
                  </a:cubicBezTo>
                  <a:cubicBezTo>
                    <a:pt x="23" y="274"/>
                    <a:pt x="23" y="274"/>
                    <a:pt x="23" y="274"/>
                  </a:cubicBezTo>
                  <a:cubicBezTo>
                    <a:pt x="23" y="285"/>
                    <a:pt x="32" y="294"/>
                    <a:pt x="44" y="294"/>
                  </a:cubicBezTo>
                  <a:cubicBezTo>
                    <a:pt x="70" y="294"/>
                    <a:pt x="70" y="294"/>
                    <a:pt x="70" y="294"/>
                  </a:cubicBezTo>
                  <a:cubicBezTo>
                    <a:pt x="2" y="480"/>
                    <a:pt x="2" y="480"/>
                    <a:pt x="2" y="480"/>
                  </a:cubicBezTo>
                  <a:cubicBezTo>
                    <a:pt x="0" y="486"/>
                    <a:pt x="3" y="492"/>
                    <a:pt x="8" y="493"/>
                  </a:cubicBezTo>
                  <a:cubicBezTo>
                    <a:pt x="15" y="496"/>
                    <a:pt x="15" y="496"/>
                    <a:pt x="15" y="496"/>
                  </a:cubicBezTo>
                  <a:cubicBezTo>
                    <a:pt x="20" y="498"/>
                    <a:pt x="26" y="495"/>
                    <a:pt x="28" y="490"/>
                  </a:cubicBezTo>
                  <a:cubicBezTo>
                    <a:pt x="99" y="294"/>
                    <a:pt x="99" y="294"/>
                    <a:pt x="99" y="294"/>
                  </a:cubicBezTo>
                  <a:cubicBezTo>
                    <a:pt x="192" y="294"/>
                    <a:pt x="192" y="294"/>
                    <a:pt x="192" y="294"/>
                  </a:cubicBezTo>
                  <a:cubicBezTo>
                    <a:pt x="193" y="294"/>
                    <a:pt x="193" y="294"/>
                    <a:pt x="193" y="294"/>
                  </a:cubicBezTo>
                  <a:cubicBezTo>
                    <a:pt x="193" y="409"/>
                    <a:pt x="193" y="409"/>
                    <a:pt x="193" y="409"/>
                  </a:cubicBezTo>
                  <a:cubicBezTo>
                    <a:pt x="193" y="412"/>
                    <a:pt x="198" y="415"/>
                    <a:pt x="203" y="415"/>
                  </a:cubicBezTo>
                  <a:cubicBezTo>
                    <a:pt x="204" y="415"/>
                    <a:pt x="204" y="415"/>
                    <a:pt x="204" y="415"/>
                  </a:cubicBezTo>
                  <a:cubicBezTo>
                    <a:pt x="211" y="415"/>
                    <a:pt x="211" y="415"/>
                    <a:pt x="211" y="415"/>
                  </a:cubicBezTo>
                  <a:cubicBezTo>
                    <a:pt x="211" y="415"/>
                    <a:pt x="211" y="415"/>
                    <a:pt x="211" y="415"/>
                  </a:cubicBezTo>
                  <a:cubicBezTo>
                    <a:pt x="217" y="415"/>
                    <a:pt x="221" y="412"/>
                    <a:pt x="221" y="409"/>
                  </a:cubicBezTo>
                  <a:cubicBezTo>
                    <a:pt x="221" y="294"/>
                    <a:pt x="221" y="294"/>
                    <a:pt x="221" y="294"/>
                  </a:cubicBezTo>
                  <a:cubicBezTo>
                    <a:pt x="223" y="294"/>
                    <a:pt x="223" y="294"/>
                    <a:pt x="223" y="294"/>
                  </a:cubicBezTo>
                  <a:cubicBezTo>
                    <a:pt x="315" y="294"/>
                    <a:pt x="315" y="294"/>
                    <a:pt x="315" y="294"/>
                  </a:cubicBezTo>
                  <a:cubicBezTo>
                    <a:pt x="387" y="490"/>
                    <a:pt x="387" y="490"/>
                    <a:pt x="387" y="490"/>
                  </a:cubicBezTo>
                  <a:cubicBezTo>
                    <a:pt x="389" y="495"/>
                    <a:pt x="395" y="498"/>
                    <a:pt x="400" y="496"/>
                  </a:cubicBezTo>
                  <a:cubicBezTo>
                    <a:pt x="406" y="493"/>
                    <a:pt x="406" y="493"/>
                    <a:pt x="406" y="493"/>
                  </a:cubicBezTo>
                  <a:cubicBezTo>
                    <a:pt x="412" y="492"/>
                    <a:pt x="415" y="486"/>
                    <a:pt x="413" y="480"/>
                  </a:cubicBezTo>
                  <a:close/>
                  <a:moveTo>
                    <a:pt x="222" y="274"/>
                  </a:moveTo>
                  <a:cubicBezTo>
                    <a:pt x="192" y="274"/>
                    <a:pt x="192" y="274"/>
                    <a:pt x="192" y="274"/>
                  </a:cubicBezTo>
                  <a:cubicBezTo>
                    <a:pt x="44" y="274"/>
                    <a:pt x="44" y="274"/>
                    <a:pt x="44" y="274"/>
                  </a:cubicBezTo>
                  <a:cubicBezTo>
                    <a:pt x="44" y="20"/>
                    <a:pt x="44" y="20"/>
                    <a:pt x="44" y="20"/>
                  </a:cubicBezTo>
                  <a:cubicBezTo>
                    <a:pt x="116" y="20"/>
                    <a:pt x="116" y="20"/>
                    <a:pt x="116" y="20"/>
                  </a:cubicBezTo>
                  <a:cubicBezTo>
                    <a:pt x="298" y="20"/>
                    <a:pt x="298" y="20"/>
                    <a:pt x="298" y="20"/>
                  </a:cubicBezTo>
                  <a:cubicBezTo>
                    <a:pt x="371" y="20"/>
                    <a:pt x="371" y="20"/>
                    <a:pt x="371" y="20"/>
                  </a:cubicBezTo>
                  <a:cubicBezTo>
                    <a:pt x="371" y="274"/>
                    <a:pt x="371" y="274"/>
                    <a:pt x="371" y="274"/>
                  </a:cubicBezTo>
                  <a:lnTo>
                    <a:pt x="222" y="27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55">
              <a:extLst>
                <a:ext uri="{FF2B5EF4-FFF2-40B4-BE49-F238E27FC236}">
                  <a16:creationId xmlns:a16="http://schemas.microsoft.com/office/drawing/2014/main" id="{17996E6A-4D41-B885-5C53-2420659DCBC9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8925" y="795338"/>
              <a:ext cx="273050" cy="38100"/>
            </a:xfrm>
            <a:custGeom>
              <a:avLst/>
              <a:gdLst>
                <a:gd name="T0" fmla="*/ 116 w 130"/>
                <a:gd name="T1" fmla="*/ 0 h 18"/>
                <a:gd name="T2" fmla="*/ 14 w 130"/>
                <a:gd name="T3" fmla="*/ 0 h 18"/>
                <a:gd name="T4" fmla="*/ 0 w 130"/>
                <a:gd name="T5" fmla="*/ 9 h 18"/>
                <a:gd name="T6" fmla="*/ 14 w 130"/>
                <a:gd name="T7" fmla="*/ 18 h 18"/>
                <a:gd name="T8" fmla="*/ 116 w 130"/>
                <a:gd name="T9" fmla="*/ 18 h 18"/>
                <a:gd name="T10" fmla="*/ 130 w 130"/>
                <a:gd name="T11" fmla="*/ 9 h 18"/>
                <a:gd name="T12" fmla="*/ 116 w 130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18">
                  <a:moveTo>
                    <a:pt x="116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4"/>
                    <a:pt x="6" y="18"/>
                    <a:pt x="14" y="18"/>
                  </a:cubicBezTo>
                  <a:cubicBezTo>
                    <a:pt x="116" y="18"/>
                    <a:pt x="116" y="18"/>
                    <a:pt x="116" y="18"/>
                  </a:cubicBezTo>
                  <a:cubicBezTo>
                    <a:pt x="124" y="18"/>
                    <a:pt x="130" y="14"/>
                    <a:pt x="130" y="9"/>
                  </a:cubicBezTo>
                  <a:cubicBezTo>
                    <a:pt x="130" y="4"/>
                    <a:pt x="124" y="0"/>
                    <a:pt x="11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56">
              <a:extLst>
                <a:ext uri="{FF2B5EF4-FFF2-40B4-BE49-F238E27FC236}">
                  <a16:creationId xmlns:a16="http://schemas.microsoft.com/office/drawing/2014/main" id="{C063A9B2-6F40-BE51-8954-74FB120850B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8925" y="869951"/>
              <a:ext cx="273050" cy="41275"/>
            </a:xfrm>
            <a:custGeom>
              <a:avLst/>
              <a:gdLst>
                <a:gd name="T0" fmla="*/ 116 w 130"/>
                <a:gd name="T1" fmla="*/ 0 h 19"/>
                <a:gd name="T2" fmla="*/ 14 w 130"/>
                <a:gd name="T3" fmla="*/ 0 h 19"/>
                <a:gd name="T4" fmla="*/ 0 w 130"/>
                <a:gd name="T5" fmla="*/ 10 h 19"/>
                <a:gd name="T6" fmla="*/ 14 w 130"/>
                <a:gd name="T7" fmla="*/ 19 h 19"/>
                <a:gd name="T8" fmla="*/ 116 w 130"/>
                <a:gd name="T9" fmla="*/ 19 h 19"/>
                <a:gd name="T10" fmla="*/ 130 w 130"/>
                <a:gd name="T11" fmla="*/ 10 h 19"/>
                <a:gd name="T12" fmla="*/ 116 w 130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19">
                  <a:moveTo>
                    <a:pt x="116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5"/>
                    <a:pt x="0" y="10"/>
                  </a:cubicBezTo>
                  <a:cubicBezTo>
                    <a:pt x="0" y="15"/>
                    <a:pt x="6" y="19"/>
                    <a:pt x="14" y="19"/>
                  </a:cubicBezTo>
                  <a:cubicBezTo>
                    <a:pt x="116" y="19"/>
                    <a:pt x="116" y="19"/>
                    <a:pt x="116" y="19"/>
                  </a:cubicBezTo>
                  <a:cubicBezTo>
                    <a:pt x="124" y="19"/>
                    <a:pt x="130" y="15"/>
                    <a:pt x="130" y="10"/>
                  </a:cubicBezTo>
                  <a:cubicBezTo>
                    <a:pt x="130" y="5"/>
                    <a:pt x="124" y="0"/>
                    <a:pt x="11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57">
              <a:extLst>
                <a:ext uri="{FF2B5EF4-FFF2-40B4-BE49-F238E27FC236}">
                  <a16:creationId xmlns:a16="http://schemas.microsoft.com/office/drawing/2014/main" id="{D393F931-2241-B5C6-B1B0-22FF1E4947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8925" y="947738"/>
              <a:ext cx="273050" cy="41275"/>
            </a:xfrm>
            <a:custGeom>
              <a:avLst/>
              <a:gdLst>
                <a:gd name="T0" fmla="*/ 116 w 130"/>
                <a:gd name="T1" fmla="*/ 0 h 19"/>
                <a:gd name="T2" fmla="*/ 14 w 130"/>
                <a:gd name="T3" fmla="*/ 0 h 19"/>
                <a:gd name="T4" fmla="*/ 0 w 130"/>
                <a:gd name="T5" fmla="*/ 10 h 19"/>
                <a:gd name="T6" fmla="*/ 14 w 130"/>
                <a:gd name="T7" fmla="*/ 19 h 19"/>
                <a:gd name="T8" fmla="*/ 116 w 130"/>
                <a:gd name="T9" fmla="*/ 19 h 19"/>
                <a:gd name="T10" fmla="*/ 130 w 130"/>
                <a:gd name="T11" fmla="*/ 10 h 19"/>
                <a:gd name="T12" fmla="*/ 116 w 130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19">
                  <a:moveTo>
                    <a:pt x="116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4"/>
                    <a:pt x="0" y="10"/>
                  </a:cubicBezTo>
                  <a:cubicBezTo>
                    <a:pt x="0" y="15"/>
                    <a:pt x="6" y="19"/>
                    <a:pt x="14" y="19"/>
                  </a:cubicBezTo>
                  <a:cubicBezTo>
                    <a:pt x="116" y="19"/>
                    <a:pt x="116" y="19"/>
                    <a:pt x="116" y="19"/>
                  </a:cubicBezTo>
                  <a:cubicBezTo>
                    <a:pt x="124" y="19"/>
                    <a:pt x="130" y="15"/>
                    <a:pt x="130" y="10"/>
                  </a:cubicBezTo>
                  <a:cubicBezTo>
                    <a:pt x="130" y="4"/>
                    <a:pt x="124" y="0"/>
                    <a:pt x="11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58">
              <a:extLst>
                <a:ext uri="{FF2B5EF4-FFF2-40B4-BE49-F238E27FC236}">
                  <a16:creationId xmlns:a16="http://schemas.microsoft.com/office/drawing/2014/main" id="{26D18FDA-99BE-59E5-8C4B-250164F000D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8925" y="1025526"/>
              <a:ext cx="273050" cy="41275"/>
            </a:xfrm>
            <a:custGeom>
              <a:avLst/>
              <a:gdLst>
                <a:gd name="T0" fmla="*/ 116 w 130"/>
                <a:gd name="T1" fmla="*/ 0 h 19"/>
                <a:gd name="T2" fmla="*/ 14 w 130"/>
                <a:gd name="T3" fmla="*/ 0 h 19"/>
                <a:gd name="T4" fmla="*/ 0 w 130"/>
                <a:gd name="T5" fmla="*/ 9 h 19"/>
                <a:gd name="T6" fmla="*/ 14 w 130"/>
                <a:gd name="T7" fmla="*/ 19 h 19"/>
                <a:gd name="T8" fmla="*/ 116 w 130"/>
                <a:gd name="T9" fmla="*/ 19 h 19"/>
                <a:gd name="T10" fmla="*/ 130 w 130"/>
                <a:gd name="T11" fmla="*/ 9 h 19"/>
                <a:gd name="T12" fmla="*/ 116 w 130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19">
                  <a:moveTo>
                    <a:pt x="116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4"/>
                    <a:pt x="6" y="19"/>
                    <a:pt x="14" y="19"/>
                  </a:cubicBezTo>
                  <a:cubicBezTo>
                    <a:pt x="116" y="19"/>
                    <a:pt x="116" y="19"/>
                    <a:pt x="116" y="19"/>
                  </a:cubicBezTo>
                  <a:cubicBezTo>
                    <a:pt x="124" y="19"/>
                    <a:pt x="130" y="14"/>
                    <a:pt x="130" y="9"/>
                  </a:cubicBezTo>
                  <a:cubicBezTo>
                    <a:pt x="130" y="4"/>
                    <a:pt x="124" y="0"/>
                    <a:pt x="11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52BC8291-48B5-A163-F220-9877985F42CA}"/>
              </a:ext>
            </a:extLst>
          </p:cNvPr>
          <p:cNvSpPr txBox="1">
            <a:spLocks/>
          </p:cNvSpPr>
          <p:nvPr/>
        </p:nvSpPr>
        <p:spPr>
          <a:xfrm>
            <a:off x="248330" y="1521131"/>
            <a:ext cx="11252200" cy="352874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/>
              <a:t>Outreach to Skiing Members …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235B77E-4769-2B4B-6B81-36CF3ECB31A6}"/>
              </a:ext>
            </a:extLst>
          </p:cNvPr>
          <p:cNvSpPr txBox="1"/>
          <p:nvPr/>
        </p:nvSpPr>
        <p:spPr>
          <a:xfrm>
            <a:off x="306244" y="1828840"/>
            <a:ext cx="1117807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/>
              <a:t>Expand the market share of skiers by advertising Burton’s high-performance apparel and appealing to the community’s interest in trip-planning.</a:t>
            </a:r>
          </a:p>
        </p:txBody>
      </p:sp>
      <p:graphicFrame>
        <p:nvGraphicFramePr>
          <p:cNvPr id="33" name="Table 52">
            <a:extLst>
              <a:ext uri="{FF2B5EF4-FFF2-40B4-BE49-F238E27FC236}">
                <a16:creationId xmlns:a16="http://schemas.microsoft.com/office/drawing/2014/main" id="{5BD6BFE8-B536-70F3-2ABF-96124FE179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9000550"/>
              </p:ext>
            </p:extLst>
          </p:nvPr>
        </p:nvGraphicFramePr>
        <p:xfrm>
          <a:off x="554399" y="2685600"/>
          <a:ext cx="11136145" cy="38023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12001">
                  <a:extLst>
                    <a:ext uri="{9D8B030D-6E8A-4147-A177-3AD203B41FA5}">
                      <a16:colId xmlns:a16="http://schemas.microsoft.com/office/drawing/2014/main" val="1614658042"/>
                    </a:ext>
                  </a:extLst>
                </a:gridCol>
                <a:gridCol w="2267824">
                  <a:extLst>
                    <a:ext uri="{9D8B030D-6E8A-4147-A177-3AD203B41FA5}">
                      <a16:colId xmlns:a16="http://schemas.microsoft.com/office/drawing/2014/main" val="4017876156"/>
                    </a:ext>
                  </a:extLst>
                </a:gridCol>
                <a:gridCol w="6456320">
                  <a:extLst>
                    <a:ext uri="{9D8B030D-6E8A-4147-A177-3AD203B41FA5}">
                      <a16:colId xmlns:a16="http://schemas.microsoft.com/office/drawing/2014/main" val="2783680657"/>
                    </a:ext>
                  </a:extLst>
                </a:gridCol>
              </a:tblGrid>
              <a:tr h="587781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Recommendation</a:t>
                      </a:r>
                    </a:p>
                  </a:txBody>
                  <a:tcPr anchor="ctr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rea</a:t>
                      </a:r>
                    </a:p>
                  </a:txBody>
                  <a:tcPr anchor="ctr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ction</a:t>
                      </a:r>
                    </a:p>
                  </a:txBody>
                  <a:tcPr anchor="ctr">
                    <a:solidFill>
                      <a:schemeClr val="accent6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5453865"/>
                  </a:ext>
                </a:extLst>
              </a:tr>
              <a:tr h="939273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600" b="1" dirty="0"/>
                        <a:t>Partnership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200"/>
                        </a:spcBef>
                        <a:buSzPct val="100000"/>
                        <a:buFont typeface="Arial" panose="020B0604020202020204" pitchFamily="34" charset="0"/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Partner with </a:t>
                      </a:r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ski resorts and travel agencies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 to create exclusive packages that include discounted apparel from Burton.</a:t>
                      </a:r>
                    </a:p>
                    <a:p>
                      <a:pPr marL="460375" lvl="1" indent="-177800">
                        <a:spcBef>
                          <a:spcPts val="200"/>
                        </a:spcBef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Use these partnerships to expand Burton’s </a:t>
                      </a:r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global reputation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82210600"/>
                  </a:ext>
                </a:extLst>
              </a:tr>
              <a:tr h="939273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600" b="1" dirty="0"/>
                        <a:t>Website Promo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Promote skiing section of Burton's website by directing skiers to </a:t>
                      </a:r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special/exclusive apparel and accessory offers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35325209"/>
                  </a:ext>
                </a:extLst>
              </a:tr>
              <a:tr h="939273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Travel / Destination Guid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Develop guides highlighting the </a:t>
                      </a:r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best ski resorts or locations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 for winter activity. Showcase the utility and </a:t>
                      </a:r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advantages of Burton 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products as essential gear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08488069"/>
                  </a:ext>
                </a:extLst>
              </a:tr>
            </a:tbl>
          </a:graphicData>
        </a:graphic>
      </p:graphicFrame>
      <p:sp>
        <p:nvSpPr>
          <p:cNvPr id="6" name="Oval 5">
            <a:extLst>
              <a:ext uri="{FF2B5EF4-FFF2-40B4-BE49-F238E27FC236}">
                <a16:creationId xmlns:a16="http://schemas.microsoft.com/office/drawing/2014/main" id="{4F0DE697-EE87-4D12-9875-D2453715F08D}"/>
              </a:ext>
            </a:extLst>
          </p:cNvPr>
          <p:cNvSpPr/>
          <p:nvPr/>
        </p:nvSpPr>
        <p:spPr bwMode="gray">
          <a:xfrm>
            <a:off x="1441478" y="3703005"/>
            <a:ext cx="548640" cy="54864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I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1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A43BEB5-1D4F-B5E4-0D41-DA15CEBE8D65}"/>
              </a:ext>
            </a:extLst>
          </p:cNvPr>
          <p:cNvSpPr/>
          <p:nvPr/>
        </p:nvSpPr>
        <p:spPr bwMode="gray">
          <a:xfrm>
            <a:off x="1441478" y="4815011"/>
            <a:ext cx="548640" cy="54864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I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2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7D7BDB4F-227F-133C-001C-9AF52B3AFA84}"/>
              </a:ext>
            </a:extLst>
          </p:cNvPr>
          <p:cNvSpPr/>
          <p:nvPr/>
        </p:nvSpPr>
        <p:spPr bwMode="gray">
          <a:xfrm>
            <a:off x="1441478" y="5761417"/>
            <a:ext cx="548640" cy="54864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lang="en-IE" sz="1600" b="1" dirty="0">
                <a:solidFill>
                  <a:prstClr val="white"/>
                </a:solidFill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3</a:t>
            </a:r>
            <a:endParaRPr kumimoji="0" lang="en-I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4729198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2FA2B60E-2EA8-265D-D8F2-B8465388DEA7}"/>
              </a:ext>
            </a:extLst>
          </p:cNvPr>
          <p:cNvSpPr txBox="1">
            <a:spLocks/>
          </p:cNvSpPr>
          <p:nvPr/>
        </p:nvSpPr>
        <p:spPr>
          <a:xfrm>
            <a:off x="1562747" y="2810260"/>
            <a:ext cx="9066506" cy="1847081"/>
          </a:xfrm>
          <a:prstGeom prst="rect">
            <a:avLst/>
          </a:prstGeom>
        </p:spPr>
        <p:txBody>
          <a:bodyPr vert="horz" lIns="0" tIns="45720" rIns="9144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i="0" kern="1200" cap="none" spc="-100" baseline="0">
                <a:solidFill>
                  <a:schemeClr val="tx1"/>
                </a:solidFill>
                <a:latin typeface="+mn-lt"/>
                <a:ea typeface="Bebas Neue" charset="0"/>
                <a:cs typeface="Chronicle Display Black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Questions?</a:t>
            </a:r>
            <a:endParaRPr kumimoji="0" lang="en-US" sz="1000" i="0" u="none" strike="noStrike" kern="1200" cap="none" spc="30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789524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2FA2B60E-2EA8-265D-D8F2-B8465388DEA7}"/>
              </a:ext>
            </a:extLst>
          </p:cNvPr>
          <p:cNvSpPr txBox="1">
            <a:spLocks/>
          </p:cNvSpPr>
          <p:nvPr/>
        </p:nvSpPr>
        <p:spPr>
          <a:xfrm>
            <a:off x="1562747" y="2810260"/>
            <a:ext cx="9066506" cy="1847081"/>
          </a:xfrm>
          <a:prstGeom prst="rect">
            <a:avLst/>
          </a:prstGeom>
        </p:spPr>
        <p:txBody>
          <a:bodyPr vert="horz" lIns="0" tIns="45720" rIns="9144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i="0" kern="1200" cap="none" spc="-100" baseline="0">
                <a:solidFill>
                  <a:schemeClr val="tx1"/>
                </a:solidFill>
                <a:latin typeface="+mn-lt"/>
                <a:ea typeface="Bebas Neue" charset="0"/>
                <a:cs typeface="Chronicle Display Black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ppendix</a:t>
            </a:r>
            <a:endParaRPr kumimoji="0" lang="en-US" sz="1000" i="0" u="none" strike="noStrike" kern="1200" cap="none" spc="30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3228937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2FA2B60E-2EA8-265D-D8F2-B8465388DEA7}"/>
              </a:ext>
            </a:extLst>
          </p:cNvPr>
          <p:cNvSpPr txBox="1">
            <a:spLocks/>
          </p:cNvSpPr>
          <p:nvPr/>
        </p:nvSpPr>
        <p:spPr>
          <a:xfrm>
            <a:off x="1562747" y="2810260"/>
            <a:ext cx="9066506" cy="1847081"/>
          </a:xfrm>
          <a:prstGeom prst="rect">
            <a:avLst/>
          </a:prstGeom>
        </p:spPr>
        <p:txBody>
          <a:bodyPr vert="horz" lIns="0" tIns="45720" rIns="9144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i="0" kern="1200" cap="none" spc="-100" baseline="0">
                <a:solidFill>
                  <a:schemeClr val="tx1"/>
                </a:solidFill>
                <a:latin typeface="+mn-lt"/>
                <a:ea typeface="Bebas Neue" charset="0"/>
                <a:cs typeface="Chronicle Display Black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ppendix</a:t>
            </a:r>
            <a:endParaRPr kumimoji="0" lang="en-US" sz="1000" i="0" u="none" strike="noStrike" kern="1200" cap="none" spc="30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67CB54B-CEBF-7973-4589-64ECCE4012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27860" y="113364"/>
            <a:ext cx="8736281" cy="6631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6949908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8378184-12AA-1BD3-BB56-50AE1B0AEE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713" y="88362"/>
            <a:ext cx="5705449" cy="668127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745B2E8-1E82-A430-407E-0E5EDD1C07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95942" y="88363"/>
            <a:ext cx="5705450" cy="6681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9197913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6B0682E-1BA8-A19C-5D43-EC05CA17EA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26143"/>
            <a:ext cx="12192000" cy="5805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30836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Title 3">
            <a:extLst>
              <a:ext uri="{FF2B5EF4-FFF2-40B4-BE49-F238E27FC236}">
                <a16:creationId xmlns:a16="http://schemas.microsoft.com/office/drawing/2014/main" id="{DCDAAD22-5540-40CC-80C8-D4707D6A1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>
            <a:normAutofit fontScale="90000"/>
          </a:bodyPr>
          <a:lstStyle/>
          <a:p>
            <a:r>
              <a:rPr lang="en-US" sz="3600" b="1" spc="-75" dirty="0">
                <a:solidFill>
                  <a:srgbClr val="000000"/>
                </a:solidFill>
                <a:latin typeface="Chronicle Display Semi" pitchFamily="50" charset="0"/>
              </a:rPr>
              <a:t>Problem Statement</a:t>
            </a:r>
            <a:endParaRPr lang="en-US" b="1" dirty="0">
              <a:latin typeface="Chronicle Display Semi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1A7E1AC-12CF-4F9C-D00A-732492792DB5}"/>
              </a:ext>
            </a:extLst>
          </p:cNvPr>
          <p:cNvSpPr/>
          <p:nvPr/>
        </p:nvSpPr>
        <p:spPr bwMode="gray">
          <a:xfrm>
            <a:off x="337472" y="1270092"/>
            <a:ext cx="11460378" cy="863349"/>
          </a:xfrm>
          <a:prstGeom prst="rect">
            <a:avLst/>
          </a:prstGeom>
          <a:solidFill>
            <a:srgbClr val="FFC000">
              <a:alpha val="1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8" name="Text Placeholder 1">
            <a:extLst>
              <a:ext uri="{FF2B5EF4-FFF2-40B4-BE49-F238E27FC236}">
                <a16:creationId xmlns:a16="http://schemas.microsoft.com/office/drawing/2014/main" id="{B11C5241-C690-4277-AC77-469F36F2890B}"/>
              </a:ext>
            </a:extLst>
          </p:cNvPr>
          <p:cNvSpPr txBox="1">
            <a:spLocks/>
          </p:cNvSpPr>
          <p:nvPr/>
        </p:nvSpPr>
        <p:spPr>
          <a:xfrm>
            <a:off x="361133" y="1307038"/>
            <a:ext cx="11453866" cy="838216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/>
              <a:t>Participation in </a:t>
            </a:r>
            <a:r>
              <a:rPr lang="en-US" sz="1600" b="1" dirty="0"/>
              <a:t>winter sports </a:t>
            </a:r>
            <a:r>
              <a:rPr lang="en-US" sz="1600" dirty="0"/>
              <a:t>has been rising over the last decade, with a </a:t>
            </a:r>
            <a:r>
              <a:rPr lang="en-US" sz="1600" b="1" dirty="0"/>
              <a:t>26% increase </a:t>
            </a:r>
            <a:r>
              <a:rPr lang="en-US" sz="1600" dirty="0"/>
              <a:t>in the active number of snowboarders and skiers.</a:t>
            </a:r>
            <a:r>
              <a:rPr lang="en-US" sz="1600" baseline="30000" dirty="0"/>
              <a:t>1 </a:t>
            </a:r>
            <a:r>
              <a:rPr lang="en-US" sz="1600" dirty="0"/>
              <a:t>It is only projected to increase, with high consumer values on outdoor activity, experiences, and health. For the first time, the interest in snowboarding has outpaced that of skiing.</a:t>
            </a:r>
            <a:r>
              <a:rPr lang="en-US" sz="1600" baseline="30000" dirty="0"/>
              <a:t>2</a:t>
            </a:r>
            <a:r>
              <a:rPr lang="en-US" sz="1600" dirty="0"/>
              <a:t> </a:t>
            </a:r>
            <a:endParaRPr lang="en-US" sz="1600" baseline="30000" dirty="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A2613431-A850-497E-AC1E-D210C8383DD0}"/>
              </a:ext>
            </a:extLst>
          </p:cNvPr>
          <p:cNvGrpSpPr/>
          <p:nvPr/>
        </p:nvGrpSpPr>
        <p:grpSpPr>
          <a:xfrm flipH="1">
            <a:off x="11044428" y="0"/>
            <a:ext cx="1147572" cy="1261871"/>
            <a:chOff x="10667" y="0"/>
            <a:chExt cx="1147572" cy="1261871"/>
          </a:xfrm>
        </p:grpSpPr>
        <p:sp>
          <p:nvSpPr>
            <p:cNvPr id="3" name="object 3"/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2">
              <a:extLst>
                <a:ext uri="{FF2B5EF4-FFF2-40B4-BE49-F238E27FC236}">
                  <a16:creationId xmlns:a16="http://schemas.microsoft.com/office/drawing/2014/main" id="{9EB62EE8-2DC5-4269-BDF2-2AAE61271F7C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5" name="TextBox 64">
            <a:extLst>
              <a:ext uri="{FF2B5EF4-FFF2-40B4-BE49-F238E27FC236}">
                <a16:creationId xmlns:a16="http://schemas.microsoft.com/office/drawing/2014/main" id="{0E1C47E9-9BF9-233A-CB1E-7CD1A961C016}"/>
              </a:ext>
            </a:extLst>
          </p:cNvPr>
          <p:cNvSpPr txBox="1"/>
          <p:nvPr/>
        </p:nvSpPr>
        <p:spPr>
          <a:xfrm>
            <a:off x="6875" y="6567118"/>
            <a:ext cx="123548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en-US" sz="800" dirty="0">
                <a:solidFill>
                  <a:schemeClr val="accent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kenver.com/blogs/news/state-snow-sports/</a:t>
            </a:r>
            <a:endParaRPr lang="en-US" sz="800" dirty="0">
              <a:solidFill>
                <a:schemeClr val="accent1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sz="800" dirty="0">
                <a:solidFill>
                  <a:schemeClr val="accent1"/>
                </a:solidFill>
              </a:rPr>
              <a:t>https://www.factmr.com/report/229/snowboard-equipment-marke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2745CF-3B4D-AE95-A072-6A02FAC9245C}"/>
              </a:ext>
            </a:extLst>
          </p:cNvPr>
          <p:cNvGrpSpPr/>
          <p:nvPr/>
        </p:nvGrpSpPr>
        <p:grpSpPr>
          <a:xfrm>
            <a:off x="11208258" y="324451"/>
            <a:ext cx="457200" cy="457200"/>
            <a:chOff x="2314575" y="2084388"/>
            <a:chExt cx="958851" cy="958849"/>
          </a:xfrm>
          <a:solidFill>
            <a:schemeClr val="bg1"/>
          </a:solidFill>
        </p:grpSpPr>
        <p:sp>
          <p:nvSpPr>
            <p:cNvPr id="4" name="Freeform 43">
              <a:extLst>
                <a:ext uri="{FF2B5EF4-FFF2-40B4-BE49-F238E27FC236}">
                  <a16:creationId xmlns:a16="http://schemas.microsoft.com/office/drawing/2014/main" id="{5112A13B-5A62-B43B-8799-577F1BCBF4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14575" y="2084388"/>
              <a:ext cx="958851" cy="958849"/>
            </a:xfrm>
            <a:custGeom>
              <a:avLst/>
              <a:gdLst>
                <a:gd name="T0" fmla="*/ 340 w 355"/>
                <a:gd name="T1" fmla="*/ 283 h 355"/>
                <a:gd name="T2" fmla="*/ 263 w 355"/>
                <a:gd name="T3" fmla="*/ 207 h 355"/>
                <a:gd name="T4" fmla="*/ 280 w 355"/>
                <a:gd name="T5" fmla="*/ 140 h 355"/>
                <a:gd name="T6" fmla="*/ 239 w 355"/>
                <a:gd name="T7" fmla="*/ 41 h 355"/>
                <a:gd name="T8" fmla="*/ 140 w 355"/>
                <a:gd name="T9" fmla="*/ 0 h 355"/>
                <a:gd name="T10" fmla="*/ 1 w 355"/>
                <a:gd name="T11" fmla="*/ 140 h 355"/>
                <a:gd name="T12" fmla="*/ 41 w 355"/>
                <a:gd name="T13" fmla="*/ 239 h 355"/>
                <a:gd name="T14" fmla="*/ 140 w 355"/>
                <a:gd name="T15" fmla="*/ 280 h 355"/>
                <a:gd name="T16" fmla="*/ 207 w 355"/>
                <a:gd name="T17" fmla="*/ 263 h 355"/>
                <a:gd name="T18" fmla="*/ 284 w 355"/>
                <a:gd name="T19" fmla="*/ 339 h 355"/>
                <a:gd name="T20" fmla="*/ 340 w 355"/>
                <a:gd name="T21" fmla="*/ 339 h 355"/>
                <a:gd name="T22" fmla="*/ 340 w 355"/>
                <a:gd name="T23" fmla="*/ 283 h 355"/>
                <a:gd name="T24" fmla="*/ 140 w 355"/>
                <a:gd name="T25" fmla="*/ 240 h 355"/>
                <a:gd name="T26" fmla="*/ 70 w 355"/>
                <a:gd name="T27" fmla="*/ 211 h 355"/>
                <a:gd name="T28" fmla="*/ 41 w 355"/>
                <a:gd name="T29" fmla="*/ 140 h 355"/>
                <a:gd name="T30" fmla="*/ 140 w 355"/>
                <a:gd name="T31" fmla="*/ 40 h 355"/>
                <a:gd name="T32" fmla="*/ 240 w 355"/>
                <a:gd name="T33" fmla="*/ 140 h 355"/>
                <a:gd name="T34" fmla="*/ 140 w 355"/>
                <a:gd name="T35" fmla="*/ 240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5" h="355">
                  <a:moveTo>
                    <a:pt x="340" y="283"/>
                  </a:moveTo>
                  <a:cubicBezTo>
                    <a:pt x="263" y="207"/>
                    <a:pt x="263" y="207"/>
                    <a:pt x="263" y="207"/>
                  </a:cubicBezTo>
                  <a:cubicBezTo>
                    <a:pt x="274" y="187"/>
                    <a:pt x="280" y="164"/>
                    <a:pt x="280" y="140"/>
                  </a:cubicBezTo>
                  <a:cubicBezTo>
                    <a:pt x="280" y="103"/>
                    <a:pt x="266" y="68"/>
                    <a:pt x="239" y="41"/>
                  </a:cubicBezTo>
                  <a:cubicBezTo>
                    <a:pt x="213" y="15"/>
                    <a:pt x="178" y="0"/>
                    <a:pt x="140" y="0"/>
                  </a:cubicBezTo>
                  <a:cubicBezTo>
                    <a:pt x="63" y="0"/>
                    <a:pt x="1" y="63"/>
                    <a:pt x="1" y="140"/>
                  </a:cubicBezTo>
                  <a:cubicBezTo>
                    <a:pt x="0" y="177"/>
                    <a:pt x="15" y="213"/>
                    <a:pt x="41" y="239"/>
                  </a:cubicBezTo>
                  <a:cubicBezTo>
                    <a:pt x="68" y="265"/>
                    <a:pt x="103" y="280"/>
                    <a:pt x="140" y="280"/>
                  </a:cubicBezTo>
                  <a:cubicBezTo>
                    <a:pt x="165" y="280"/>
                    <a:pt x="187" y="274"/>
                    <a:pt x="207" y="263"/>
                  </a:cubicBezTo>
                  <a:cubicBezTo>
                    <a:pt x="284" y="339"/>
                    <a:pt x="284" y="339"/>
                    <a:pt x="284" y="339"/>
                  </a:cubicBezTo>
                  <a:cubicBezTo>
                    <a:pt x="299" y="355"/>
                    <a:pt x="324" y="355"/>
                    <a:pt x="340" y="339"/>
                  </a:cubicBezTo>
                  <a:cubicBezTo>
                    <a:pt x="355" y="324"/>
                    <a:pt x="355" y="299"/>
                    <a:pt x="340" y="283"/>
                  </a:cubicBezTo>
                  <a:close/>
                  <a:moveTo>
                    <a:pt x="140" y="240"/>
                  </a:moveTo>
                  <a:cubicBezTo>
                    <a:pt x="114" y="240"/>
                    <a:pt x="89" y="229"/>
                    <a:pt x="70" y="211"/>
                  </a:cubicBezTo>
                  <a:cubicBezTo>
                    <a:pt x="51" y="192"/>
                    <a:pt x="41" y="167"/>
                    <a:pt x="41" y="140"/>
                  </a:cubicBezTo>
                  <a:cubicBezTo>
                    <a:pt x="41" y="85"/>
                    <a:pt x="85" y="40"/>
                    <a:pt x="140" y="40"/>
                  </a:cubicBezTo>
                  <a:cubicBezTo>
                    <a:pt x="195" y="40"/>
                    <a:pt x="240" y="85"/>
                    <a:pt x="240" y="140"/>
                  </a:cubicBezTo>
                  <a:cubicBezTo>
                    <a:pt x="240" y="195"/>
                    <a:pt x="195" y="240"/>
                    <a:pt x="140" y="240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" name="Freeform 44">
              <a:extLst>
                <a:ext uri="{FF2B5EF4-FFF2-40B4-BE49-F238E27FC236}">
                  <a16:creationId xmlns:a16="http://schemas.microsoft.com/office/drawing/2014/main" id="{16241C37-71E4-0521-B8AC-DE6819B9F5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2700" y="2273300"/>
              <a:ext cx="280988" cy="377825"/>
            </a:xfrm>
            <a:custGeom>
              <a:avLst/>
              <a:gdLst>
                <a:gd name="T0" fmla="*/ 67 w 104"/>
                <a:gd name="T1" fmla="*/ 97 h 140"/>
                <a:gd name="T2" fmla="*/ 31 w 104"/>
                <a:gd name="T3" fmla="*/ 97 h 140"/>
                <a:gd name="T4" fmla="*/ 31 w 104"/>
                <a:gd name="T5" fmla="*/ 93 h 140"/>
                <a:gd name="T6" fmla="*/ 33 w 104"/>
                <a:gd name="T7" fmla="*/ 78 h 140"/>
                <a:gd name="T8" fmla="*/ 40 w 104"/>
                <a:gd name="T9" fmla="*/ 68 h 140"/>
                <a:gd name="T10" fmla="*/ 58 w 104"/>
                <a:gd name="T11" fmla="*/ 52 h 140"/>
                <a:gd name="T12" fmla="*/ 65 w 104"/>
                <a:gd name="T13" fmla="*/ 40 h 140"/>
                <a:gd name="T14" fmla="*/ 62 w 104"/>
                <a:gd name="T15" fmla="*/ 32 h 140"/>
                <a:gd name="T16" fmla="*/ 53 w 104"/>
                <a:gd name="T17" fmla="*/ 29 h 140"/>
                <a:gd name="T18" fmla="*/ 42 w 104"/>
                <a:gd name="T19" fmla="*/ 34 h 140"/>
                <a:gd name="T20" fmla="*/ 37 w 104"/>
                <a:gd name="T21" fmla="*/ 49 h 140"/>
                <a:gd name="T22" fmla="*/ 0 w 104"/>
                <a:gd name="T23" fmla="*/ 45 h 140"/>
                <a:gd name="T24" fmla="*/ 15 w 104"/>
                <a:gd name="T25" fmla="*/ 13 h 140"/>
                <a:gd name="T26" fmla="*/ 54 w 104"/>
                <a:gd name="T27" fmla="*/ 0 h 140"/>
                <a:gd name="T28" fmla="*/ 87 w 104"/>
                <a:gd name="T29" fmla="*/ 9 h 140"/>
                <a:gd name="T30" fmla="*/ 104 w 104"/>
                <a:gd name="T31" fmla="*/ 40 h 140"/>
                <a:gd name="T32" fmla="*/ 99 w 104"/>
                <a:gd name="T33" fmla="*/ 55 h 140"/>
                <a:gd name="T34" fmla="*/ 81 w 104"/>
                <a:gd name="T35" fmla="*/ 73 h 140"/>
                <a:gd name="T36" fmla="*/ 69 w 104"/>
                <a:gd name="T37" fmla="*/ 85 h 140"/>
                <a:gd name="T38" fmla="*/ 67 w 104"/>
                <a:gd name="T39" fmla="*/ 97 h 140"/>
                <a:gd name="T40" fmla="*/ 30 w 104"/>
                <a:gd name="T41" fmla="*/ 106 h 140"/>
                <a:gd name="T42" fmla="*/ 68 w 104"/>
                <a:gd name="T43" fmla="*/ 106 h 140"/>
                <a:gd name="T44" fmla="*/ 68 w 104"/>
                <a:gd name="T45" fmla="*/ 140 h 140"/>
                <a:gd name="T46" fmla="*/ 30 w 104"/>
                <a:gd name="T47" fmla="*/ 140 h 140"/>
                <a:gd name="T48" fmla="*/ 30 w 104"/>
                <a:gd name="T49" fmla="*/ 10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4" h="140">
                  <a:moveTo>
                    <a:pt x="67" y="97"/>
                  </a:moveTo>
                  <a:cubicBezTo>
                    <a:pt x="31" y="97"/>
                    <a:pt x="31" y="97"/>
                    <a:pt x="31" y="97"/>
                  </a:cubicBezTo>
                  <a:cubicBezTo>
                    <a:pt x="31" y="93"/>
                    <a:pt x="31" y="93"/>
                    <a:pt x="31" y="93"/>
                  </a:cubicBezTo>
                  <a:cubicBezTo>
                    <a:pt x="31" y="87"/>
                    <a:pt x="32" y="82"/>
                    <a:pt x="33" y="78"/>
                  </a:cubicBezTo>
                  <a:cubicBezTo>
                    <a:pt x="35" y="75"/>
                    <a:pt x="37" y="71"/>
                    <a:pt x="40" y="68"/>
                  </a:cubicBezTo>
                  <a:cubicBezTo>
                    <a:pt x="42" y="65"/>
                    <a:pt x="48" y="60"/>
                    <a:pt x="58" y="52"/>
                  </a:cubicBezTo>
                  <a:cubicBezTo>
                    <a:pt x="63" y="48"/>
                    <a:pt x="65" y="44"/>
                    <a:pt x="65" y="40"/>
                  </a:cubicBezTo>
                  <a:cubicBezTo>
                    <a:pt x="65" y="37"/>
                    <a:pt x="64" y="34"/>
                    <a:pt x="62" y="32"/>
                  </a:cubicBezTo>
                  <a:cubicBezTo>
                    <a:pt x="60" y="30"/>
                    <a:pt x="57" y="29"/>
                    <a:pt x="53" y="29"/>
                  </a:cubicBezTo>
                  <a:cubicBezTo>
                    <a:pt x="49" y="29"/>
                    <a:pt x="45" y="31"/>
                    <a:pt x="42" y="34"/>
                  </a:cubicBezTo>
                  <a:cubicBezTo>
                    <a:pt x="39" y="37"/>
                    <a:pt x="37" y="42"/>
                    <a:pt x="37" y="49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2" y="31"/>
                    <a:pt x="6" y="21"/>
                    <a:pt x="15" y="13"/>
                  </a:cubicBezTo>
                  <a:cubicBezTo>
                    <a:pt x="23" y="4"/>
                    <a:pt x="36" y="0"/>
                    <a:pt x="54" y="0"/>
                  </a:cubicBezTo>
                  <a:cubicBezTo>
                    <a:pt x="67" y="0"/>
                    <a:pt x="78" y="3"/>
                    <a:pt x="87" y="9"/>
                  </a:cubicBezTo>
                  <a:cubicBezTo>
                    <a:pt x="98" y="16"/>
                    <a:pt x="104" y="27"/>
                    <a:pt x="104" y="40"/>
                  </a:cubicBezTo>
                  <a:cubicBezTo>
                    <a:pt x="104" y="45"/>
                    <a:pt x="102" y="50"/>
                    <a:pt x="99" y="55"/>
                  </a:cubicBezTo>
                  <a:cubicBezTo>
                    <a:pt x="96" y="60"/>
                    <a:pt x="90" y="66"/>
                    <a:pt x="81" y="73"/>
                  </a:cubicBezTo>
                  <a:cubicBezTo>
                    <a:pt x="75" y="78"/>
                    <a:pt x="71" y="82"/>
                    <a:pt x="69" y="85"/>
                  </a:cubicBezTo>
                  <a:cubicBezTo>
                    <a:pt x="68" y="88"/>
                    <a:pt x="67" y="92"/>
                    <a:pt x="67" y="97"/>
                  </a:cubicBezTo>
                  <a:close/>
                  <a:moveTo>
                    <a:pt x="30" y="106"/>
                  </a:moveTo>
                  <a:cubicBezTo>
                    <a:pt x="68" y="106"/>
                    <a:pt x="68" y="106"/>
                    <a:pt x="68" y="106"/>
                  </a:cubicBezTo>
                  <a:cubicBezTo>
                    <a:pt x="68" y="140"/>
                    <a:pt x="68" y="140"/>
                    <a:pt x="68" y="140"/>
                  </a:cubicBezTo>
                  <a:cubicBezTo>
                    <a:pt x="30" y="140"/>
                    <a:pt x="30" y="140"/>
                    <a:pt x="30" y="140"/>
                  </a:cubicBezTo>
                  <a:lnTo>
                    <a:pt x="30" y="10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29EAED77-26BD-CB96-514F-2ABCD651E08F}"/>
              </a:ext>
            </a:extLst>
          </p:cNvPr>
          <p:cNvSpPr/>
          <p:nvPr/>
        </p:nvSpPr>
        <p:spPr bwMode="gray">
          <a:xfrm rot="10800000" flipV="1">
            <a:off x="339162" y="990348"/>
            <a:ext cx="11460378" cy="306718"/>
          </a:xfrm>
          <a:prstGeom prst="rect">
            <a:avLst/>
          </a:prstGeom>
          <a:solidFill>
            <a:srgbClr val="FFC000">
              <a:alpha val="6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/>
              <a:t>Background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634D7BA-2699-4F50-BC9C-21FB7138998B}"/>
              </a:ext>
            </a:extLst>
          </p:cNvPr>
          <p:cNvCxnSpPr/>
          <p:nvPr/>
        </p:nvCxnSpPr>
        <p:spPr>
          <a:xfrm>
            <a:off x="4181539" y="2271343"/>
            <a:ext cx="0" cy="4345779"/>
          </a:xfrm>
          <a:prstGeom prst="line">
            <a:avLst/>
          </a:prstGeom>
          <a:noFill/>
          <a:ln w="38100" cap="flat" cmpd="sng" algn="ctr">
            <a:solidFill>
              <a:schemeClr val="accent1"/>
            </a:solidFill>
            <a:prstDash val="solid"/>
          </a:ln>
          <a:effectLst/>
        </p:spPr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9ECF8566-09FE-8F03-C550-C3C4C1F7229E}"/>
              </a:ext>
            </a:extLst>
          </p:cNvPr>
          <p:cNvCxnSpPr/>
          <p:nvPr/>
        </p:nvCxnSpPr>
        <p:spPr>
          <a:xfrm>
            <a:off x="7883016" y="2271343"/>
            <a:ext cx="0" cy="4345779"/>
          </a:xfrm>
          <a:prstGeom prst="line">
            <a:avLst/>
          </a:prstGeom>
          <a:noFill/>
          <a:ln w="38100" cap="flat" cmpd="sng" algn="ctr">
            <a:solidFill>
              <a:schemeClr val="accent1"/>
            </a:solidFill>
            <a:prstDash val="solid"/>
          </a:ln>
          <a:effectLst/>
        </p:spPr>
      </p:cxnSp>
      <p:sp>
        <p:nvSpPr>
          <p:cNvPr id="78" name="Rectangle 77">
            <a:extLst>
              <a:ext uri="{FF2B5EF4-FFF2-40B4-BE49-F238E27FC236}">
                <a16:creationId xmlns:a16="http://schemas.microsoft.com/office/drawing/2014/main" id="{C8D04CAF-8A4E-66BC-5E4A-F9B88590ED25}"/>
              </a:ext>
            </a:extLst>
          </p:cNvPr>
          <p:cNvSpPr/>
          <p:nvPr/>
        </p:nvSpPr>
        <p:spPr bwMode="gray">
          <a:xfrm>
            <a:off x="644970" y="2651510"/>
            <a:ext cx="3086098" cy="3965611"/>
          </a:xfrm>
          <a:prstGeom prst="rect">
            <a:avLst/>
          </a:prstGeom>
          <a:solidFill>
            <a:srgbClr val="0BD0D9">
              <a:alpha val="15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0B631365-98B9-7C42-26A8-57319A078279}"/>
              </a:ext>
            </a:extLst>
          </p:cNvPr>
          <p:cNvSpPr txBox="1"/>
          <p:nvPr/>
        </p:nvSpPr>
        <p:spPr>
          <a:xfrm>
            <a:off x="653235" y="2697246"/>
            <a:ext cx="3079316" cy="32932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 dirty="0"/>
              <a:t>Burton Snowboards, Inc. </a:t>
            </a:r>
            <a:r>
              <a:rPr lang="en-US" sz="1600" dirty="0"/>
              <a:t>is a leader in the winter sports space, but is facing increasing competition in a niche market and among evolving consumer interests and demands. </a:t>
            </a:r>
          </a:p>
          <a:p>
            <a:pPr algn="ctr"/>
            <a:endParaRPr lang="en-US" sz="900" dirty="0"/>
          </a:p>
          <a:p>
            <a:pPr algn="ctr"/>
            <a:r>
              <a:rPr lang="en-US" sz="1600" dirty="0"/>
              <a:t>It is critical that Burton finds way to </a:t>
            </a:r>
            <a:r>
              <a:rPr lang="en-US" sz="1600" b="1" dirty="0"/>
              <a:t>expand its customer based and establish consumer loyalty. </a:t>
            </a:r>
            <a:endParaRPr lang="en-US" sz="1600" b="1" dirty="0">
              <a:highlight>
                <a:srgbClr val="FFFF00"/>
              </a:highlight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B0FA1C0C-B971-2367-D6A8-26B1439481EB}"/>
              </a:ext>
            </a:extLst>
          </p:cNvPr>
          <p:cNvSpPr/>
          <p:nvPr/>
        </p:nvSpPr>
        <p:spPr bwMode="gray">
          <a:xfrm>
            <a:off x="644970" y="2363302"/>
            <a:ext cx="3086098" cy="299507"/>
          </a:xfrm>
          <a:prstGeom prst="rect">
            <a:avLst/>
          </a:prstGeom>
          <a:solidFill>
            <a:srgbClr val="00B050">
              <a:alpha val="65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r>
              <a:rPr lang="en-US" sz="1600" b="1" dirty="0">
                <a:solidFill>
                  <a:schemeClr val="bg1"/>
                </a:solidFill>
              </a:rPr>
              <a:t>Client and Issue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38CA0C90-296E-1770-66FF-66D2B02E7C31}"/>
              </a:ext>
            </a:extLst>
          </p:cNvPr>
          <p:cNvSpPr/>
          <p:nvPr/>
        </p:nvSpPr>
        <p:spPr bwMode="gray">
          <a:xfrm>
            <a:off x="4596402" y="2635837"/>
            <a:ext cx="3086098" cy="3965611"/>
          </a:xfrm>
          <a:prstGeom prst="rect">
            <a:avLst/>
          </a:prstGeom>
          <a:solidFill>
            <a:schemeClr val="accent2">
              <a:alpha val="1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ADB127AC-2639-B9D7-8818-346A7F7CD9BC}"/>
              </a:ext>
            </a:extLst>
          </p:cNvPr>
          <p:cNvSpPr txBox="1"/>
          <p:nvPr/>
        </p:nvSpPr>
        <p:spPr>
          <a:xfrm>
            <a:off x="4597504" y="2697245"/>
            <a:ext cx="3079316" cy="29392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/>
              <a:t>The objective of this project is to develop a classification model that </a:t>
            </a:r>
            <a:r>
              <a:rPr lang="en-US" sz="1600" b="1" dirty="0"/>
              <a:t>predicts the source of a Reddit post </a:t>
            </a:r>
            <a:r>
              <a:rPr lang="en-US" sz="1600" dirty="0"/>
              <a:t>based on its text. </a:t>
            </a:r>
          </a:p>
          <a:p>
            <a:pPr algn="ctr"/>
            <a:endParaRPr lang="en-US" sz="900" dirty="0"/>
          </a:p>
          <a:p>
            <a:pPr algn="ctr"/>
            <a:r>
              <a:rPr lang="en-US" sz="1600" dirty="0"/>
              <a:t>With this, we will </a:t>
            </a:r>
            <a:r>
              <a:rPr lang="en-US" sz="1600" b="1" dirty="0"/>
              <a:t>identify opportunities </a:t>
            </a:r>
            <a:r>
              <a:rPr lang="en-US" sz="1600" dirty="0"/>
              <a:t>for Burton that will enhance its market share, generate financial opportunities, and optimize products and marketing.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EA3E4B7A-E75E-19D6-4AF2-BBF1102DB45C}"/>
              </a:ext>
            </a:extLst>
          </p:cNvPr>
          <p:cNvSpPr/>
          <p:nvPr/>
        </p:nvSpPr>
        <p:spPr bwMode="gray">
          <a:xfrm>
            <a:off x="4596402" y="2347629"/>
            <a:ext cx="3086098" cy="299507"/>
          </a:xfrm>
          <a:prstGeom prst="rect">
            <a:avLst/>
          </a:prstGeom>
          <a:solidFill>
            <a:srgbClr val="0070C0">
              <a:alpha val="65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r>
              <a:rPr lang="en-US" sz="1600" b="1" dirty="0">
                <a:solidFill>
                  <a:schemeClr val="bg1"/>
                </a:solidFill>
              </a:rPr>
              <a:t>Objective 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F31D05B6-67EB-14A6-964E-E5504140DF93}"/>
              </a:ext>
            </a:extLst>
          </p:cNvPr>
          <p:cNvSpPr/>
          <p:nvPr/>
        </p:nvSpPr>
        <p:spPr bwMode="gray">
          <a:xfrm>
            <a:off x="8498122" y="2651510"/>
            <a:ext cx="3086098" cy="3965611"/>
          </a:xfrm>
          <a:prstGeom prst="rect">
            <a:avLst/>
          </a:prstGeom>
          <a:solidFill>
            <a:srgbClr val="7030A0">
              <a:alpha val="15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DE4F93FC-A70A-DD86-6AA0-A4291DB78F5E}"/>
              </a:ext>
            </a:extLst>
          </p:cNvPr>
          <p:cNvSpPr txBox="1"/>
          <p:nvPr/>
        </p:nvSpPr>
        <p:spPr>
          <a:xfrm>
            <a:off x="8504904" y="2697246"/>
            <a:ext cx="3079316" cy="33239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Acquire data via Python Reddit API Wrapper (</a:t>
            </a:r>
            <a:r>
              <a:rPr lang="en-US" sz="1600" b="1" dirty="0"/>
              <a:t>PRAW</a:t>
            </a:r>
            <a:r>
              <a:rPr lang="en-US" sz="1600" dirty="0"/>
              <a:t>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9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Conduct </a:t>
            </a:r>
            <a:r>
              <a:rPr lang="en-US" sz="1600" b="1" dirty="0"/>
              <a:t>exploratory data analysis</a:t>
            </a:r>
            <a:r>
              <a:rPr lang="en-US" sz="1600" dirty="0"/>
              <a:t>, cleaning, data transformation via Vectoriz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9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Build and test various </a:t>
            </a:r>
            <a:r>
              <a:rPr lang="en-US" sz="1600" b="1" dirty="0"/>
              <a:t>classification mode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9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Evaluate with </a:t>
            </a:r>
            <a:r>
              <a:rPr lang="en-US" sz="1600" b="1" dirty="0"/>
              <a:t>accuracy report 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7BD6410A-3E2B-83D2-5D2C-BA0A5BE48406}"/>
              </a:ext>
            </a:extLst>
          </p:cNvPr>
          <p:cNvSpPr/>
          <p:nvPr/>
        </p:nvSpPr>
        <p:spPr bwMode="gray">
          <a:xfrm>
            <a:off x="8498122" y="2363302"/>
            <a:ext cx="3086098" cy="299507"/>
          </a:xfrm>
          <a:prstGeom prst="rect">
            <a:avLst/>
          </a:prstGeom>
          <a:solidFill>
            <a:srgbClr val="7030A0">
              <a:alpha val="65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r>
              <a:rPr lang="en-US" sz="1600" b="1" dirty="0">
                <a:solidFill>
                  <a:schemeClr val="bg1"/>
                </a:solidFill>
              </a:rPr>
              <a:t>Methodology &amp; Analysis</a:t>
            </a:r>
          </a:p>
        </p:txBody>
      </p:sp>
      <p:pic>
        <p:nvPicPr>
          <p:cNvPr id="1028" name="Picture 4" descr="Free download Burton Snowboards logo in 2022 | Burton snowboards ...">
            <a:extLst>
              <a:ext uri="{FF2B5EF4-FFF2-40B4-BE49-F238E27FC236}">
                <a16:creationId xmlns:a16="http://schemas.microsoft.com/office/drawing/2014/main" id="{8094E9DA-1CD1-A543-7BAA-45F94A04FD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2644" y="5730744"/>
            <a:ext cx="959835" cy="9359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7" name="Group 96">
            <a:extLst>
              <a:ext uri="{FF2B5EF4-FFF2-40B4-BE49-F238E27FC236}">
                <a16:creationId xmlns:a16="http://schemas.microsoft.com/office/drawing/2014/main" id="{15829FFA-CE08-97DD-27A0-93AA6E81467F}"/>
              </a:ext>
            </a:extLst>
          </p:cNvPr>
          <p:cNvGrpSpPr/>
          <p:nvPr/>
        </p:nvGrpSpPr>
        <p:grpSpPr>
          <a:xfrm>
            <a:off x="8550834" y="6000311"/>
            <a:ext cx="2966977" cy="531612"/>
            <a:chOff x="978997" y="5286888"/>
            <a:chExt cx="10884790" cy="1265239"/>
          </a:xfrm>
        </p:grpSpPr>
        <p:sp>
          <p:nvSpPr>
            <p:cNvPr id="98" name="Rounded Rectangle 75">
              <a:extLst>
                <a:ext uri="{FF2B5EF4-FFF2-40B4-BE49-F238E27FC236}">
                  <a16:creationId xmlns:a16="http://schemas.microsoft.com/office/drawing/2014/main" id="{DB5DB48F-7293-A2E0-6403-469B9E04BDBA}"/>
                </a:ext>
              </a:extLst>
            </p:cNvPr>
            <p:cNvSpPr/>
            <p:nvPr/>
          </p:nvSpPr>
          <p:spPr bwMode="gray">
            <a:xfrm>
              <a:off x="978997" y="5286888"/>
              <a:ext cx="3291286" cy="1265239"/>
            </a:xfrm>
            <a:prstGeom prst="roundRect">
              <a:avLst/>
            </a:prstGeom>
            <a:solidFill>
              <a:sysClr val="window" lastClr="FFFFFF"/>
            </a:solidFill>
            <a:ln w="38100" cap="flat" cmpd="sng" algn="ctr">
              <a:solidFill>
                <a:srgbClr val="7030A0"/>
              </a:solidFill>
              <a:prstDash val="solid"/>
              <a:miter lim="800000"/>
              <a:headEnd/>
              <a:tailEnd/>
            </a:ln>
            <a:effectLst/>
          </p:spPr>
          <p:txBody>
            <a:bodyPr wrap="square" lIns="0" tIns="0" rIns="0" bIns="0" rtlCol="0" anchor="ctr"/>
            <a:lstStyle/>
            <a:p>
              <a:pPr marL="12700" marR="5080" algn="ctr">
                <a:spcBef>
                  <a:spcPts val="110"/>
                </a:spcBef>
                <a:defRPr/>
              </a:pPr>
              <a:r>
                <a:rPr lang="en-US" sz="1050" spc="-20" dirty="0">
                  <a:solidFill>
                    <a:prstClr val="black"/>
                  </a:solidFill>
                  <a:latin typeface="Open Sans"/>
                  <a:cs typeface="Open Sans"/>
                </a:rPr>
                <a:t>Pull Data </a:t>
              </a:r>
            </a:p>
            <a:p>
              <a:pPr marL="12700" marR="5080" algn="ctr">
                <a:spcBef>
                  <a:spcPts val="110"/>
                </a:spcBef>
                <a:defRPr/>
              </a:pPr>
              <a:r>
                <a:rPr lang="en-US" sz="1050" spc="-20" dirty="0">
                  <a:solidFill>
                    <a:prstClr val="black"/>
                  </a:solidFill>
                  <a:latin typeface="Open Sans"/>
                  <a:cs typeface="Open Sans"/>
                </a:rPr>
                <a:t>via PRAW</a:t>
              </a:r>
            </a:p>
          </p:txBody>
        </p:sp>
        <p:sp>
          <p:nvSpPr>
            <p:cNvPr id="99" name="Rounded Rectangle 75">
              <a:extLst>
                <a:ext uri="{FF2B5EF4-FFF2-40B4-BE49-F238E27FC236}">
                  <a16:creationId xmlns:a16="http://schemas.microsoft.com/office/drawing/2014/main" id="{DDFA8E2A-C673-A04A-55F5-82BE20CB5532}"/>
                </a:ext>
              </a:extLst>
            </p:cNvPr>
            <p:cNvSpPr/>
            <p:nvPr/>
          </p:nvSpPr>
          <p:spPr bwMode="gray">
            <a:xfrm>
              <a:off x="4775750" y="5286888"/>
              <a:ext cx="3291286" cy="1265239"/>
            </a:xfrm>
            <a:prstGeom prst="roundRect">
              <a:avLst/>
            </a:prstGeom>
            <a:solidFill>
              <a:sysClr val="window" lastClr="FFFFFF"/>
            </a:solidFill>
            <a:ln w="38100" cap="flat" cmpd="sng" algn="ctr">
              <a:solidFill>
                <a:srgbClr val="7030A0"/>
              </a:solidFill>
              <a:prstDash val="solid"/>
              <a:miter lim="800000"/>
              <a:headEnd/>
              <a:tailEnd/>
            </a:ln>
            <a:effectLst/>
          </p:spPr>
          <p:txBody>
            <a:bodyPr wrap="square" lIns="0" tIns="0" rIns="0" bIns="0" rtlCol="0" anchor="ctr"/>
            <a:lstStyle/>
            <a:p>
              <a:pPr marL="12700" marR="5080" algn="ctr">
                <a:spcBef>
                  <a:spcPts val="110"/>
                </a:spcBef>
                <a:defRPr/>
              </a:pPr>
              <a:r>
                <a:rPr lang="en-US" sz="1100" spc="-20" dirty="0">
                  <a:solidFill>
                    <a:prstClr val="black"/>
                  </a:solidFill>
                  <a:latin typeface="Open Sans"/>
                  <a:cs typeface="Open Sans"/>
                </a:rPr>
                <a:t>Cleaning </a:t>
              </a:r>
            </a:p>
            <a:p>
              <a:pPr marL="12700" marR="5080" algn="ctr">
                <a:spcBef>
                  <a:spcPts val="110"/>
                </a:spcBef>
                <a:defRPr/>
              </a:pPr>
              <a:r>
                <a:rPr lang="en-US" sz="1100" spc="-20" dirty="0">
                  <a:solidFill>
                    <a:prstClr val="black"/>
                  </a:solidFill>
                  <a:latin typeface="Open Sans"/>
                  <a:cs typeface="Open Sans"/>
                </a:rPr>
                <a:t>and EDA</a:t>
              </a:r>
            </a:p>
          </p:txBody>
        </p:sp>
        <p:sp>
          <p:nvSpPr>
            <p:cNvPr id="100" name="Rounded Rectangle 75">
              <a:extLst>
                <a:ext uri="{FF2B5EF4-FFF2-40B4-BE49-F238E27FC236}">
                  <a16:creationId xmlns:a16="http://schemas.microsoft.com/office/drawing/2014/main" id="{BB523017-5CB9-2738-918C-8C1A2A390D19}"/>
                </a:ext>
              </a:extLst>
            </p:cNvPr>
            <p:cNvSpPr/>
            <p:nvPr/>
          </p:nvSpPr>
          <p:spPr bwMode="gray">
            <a:xfrm>
              <a:off x="8572501" y="5286888"/>
              <a:ext cx="3291286" cy="1265239"/>
            </a:xfrm>
            <a:prstGeom prst="roundRect">
              <a:avLst/>
            </a:prstGeom>
            <a:solidFill>
              <a:sysClr val="window" lastClr="FFFFFF"/>
            </a:solidFill>
            <a:ln w="38100" cap="flat" cmpd="sng" algn="ctr">
              <a:solidFill>
                <a:srgbClr val="7030A0"/>
              </a:solidFill>
              <a:prstDash val="solid"/>
              <a:miter lim="800000"/>
              <a:headEnd/>
              <a:tailEnd/>
            </a:ln>
            <a:effectLst/>
          </p:spPr>
          <p:txBody>
            <a:bodyPr wrap="square" lIns="0" tIns="0" rIns="0" bIns="0" rtlCol="0" anchor="ctr"/>
            <a:lstStyle/>
            <a:p>
              <a:pPr marL="12700" marR="5080" algn="ctr">
                <a:spcBef>
                  <a:spcPts val="110"/>
                </a:spcBef>
                <a:defRPr/>
              </a:pPr>
              <a:r>
                <a:rPr lang="en-US" sz="1100" spc="-20" dirty="0">
                  <a:solidFill>
                    <a:prstClr val="black"/>
                  </a:solidFill>
                  <a:latin typeface="Open Sans"/>
                  <a:cs typeface="Open Sans"/>
                </a:rPr>
                <a:t>Model Tuning &amp; Testing</a:t>
              </a:r>
            </a:p>
          </p:txBody>
        </p:sp>
        <p:cxnSp>
          <p:nvCxnSpPr>
            <p:cNvPr id="101" name="Straight Arrow Connector 100">
              <a:extLst>
                <a:ext uri="{FF2B5EF4-FFF2-40B4-BE49-F238E27FC236}">
                  <a16:creationId xmlns:a16="http://schemas.microsoft.com/office/drawing/2014/main" id="{D7A8FE03-5B3F-B266-30E6-73AA9A8511D0}"/>
                </a:ext>
              </a:extLst>
            </p:cNvPr>
            <p:cNvCxnSpPr>
              <a:cxnSpLocks/>
              <a:stCxn id="98" idx="3"/>
              <a:endCxn id="99" idx="1"/>
            </p:cNvCxnSpPr>
            <p:nvPr/>
          </p:nvCxnSpPr>
          <p:spPr>
            <a:xfrm>
              <a:off x="4270283" y="5919509"/>
              <a:ext cx="505468" cy="0"/>
            </a:xfrm>
            <a:prstGeom prst="straightConnector1">
              <a:avLst/>
            </a:prstGeom>
            <a:ln>
              <a:solidFill>
                <a:srgbClr val="7030A0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2" name="Straight Arrow Connector 101">
              <a:extLst>
                <a:ext uri="{FF2B5EF4-FFF2-40B4-BE49-F238E27FC236}">
                  <a16:creationId xmlns:a16="http://schemas.microsoft.com/office/drawing/2014/main" id="{5FB0BA56-23C5-86FB-A99F-4F19EB610C57}"/>
                </a:ext>
              </a:extLst>
            </p:cNvPr>
            <p:cNvCxnSpPr>
              <a:cxnSpLocks/>
              <a:stCxn id="99" idx="3"/>
              <a:endCxn id="100" idx="1"/>
            </p:cNvCxnSpPr>
            <p:nvPr/>
          </p:nvCxnSpPr>
          <p:spPr>
            <a:xfrm>
              <a:off x="8067036" y="5919509"/>
              <a:ext cx="505465" cy="0"/>
            </a:xfrm>
            <a:prstGeom prst="straightConnector1">
              <a:avLst/>
            </a:prstGeom>
            <a:ln>
              <a:solidFill>
                <a:srgbClr val="7030A0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1042" name="Picture 1041">
            <a:extLst>
              <a:ext uri="{FF2B5EF4-FFF2-40B4-BE49-F238E27FC236}">
                <a16:creationId xmlns:a16="http://schemas.microsoft.com/office/drawing/2014/main" id="{75BF2D9F-86BD-BC33-23EB-D90D38D68A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24117" y="5670886"/>
            <a:ext cx="908448" cy="908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869052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Rectangle 2051">
            <a:extLst>
              <a:ext uri="{FF2B5EF4-FFF2-40B4-BE49-F238E27FC236}">
                <a16:creationId xmlns:a16="http://schemas.microsoft.com/office/drawing/2014/main" id="{1762D200-19FA-F9E2-AEC0-DBED1F19787A}"/>
              </a:ext>
            </a:extLst>
          </p:cNvPr>
          <p:cNvSpPr/>
          <p:nvPr/>
        </p:nvSpPr>
        <p:spPr bwMode="gray">
          <a:xfrm>
            <a:off x="339156" y="4656519"/>
            <a:ext cx="11510954" cy="2069792"/>
          </a:xfrm>
          <a:prstGeom prst="rect">
            <a:avLst/>
          </a:prstGeom>
          <a:solidFill>
            <a:schemeClr val="accent2">
              <a:lumMod val="20000"/>
              <a:lumOff val="80000"/>
              <a:alpha val="20000"/>
            </a:schemeClr>
          </a:solidFill>
          <a:ln w="1905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049" name="Rectangle 2048">
            <a:extLst>
              <a:ext uri="{FF2B5EF4-FFF2-40B4-BE49-F238E27FC236}">
                <a16:creationId xmlns:a16="http://schemas.microsoft.com/office/drawing/2014/main" id="{866BD2BA-F708-AA24-D456-72495CCDB2A2}"/>
              </a:ext>
            </a:extLst>
          </p:cNvPr>
          <p:cNvSpPr/>
          <p:nvPr/>
        </p:nvSpPr>
        <p:spPr bwMode="gray">
          <a:xfrm>
            <a:off x="339156" y="1254025"/>
            <a:ext cx="5490139" cy="2974093"/>
          </a:xfrm>
          <a:prstGeom prst="rect">
            <a:avLst/>
          </a:prstGeom>
          <a:solidFill>
            <a:schemeClr val="accent2">
              <a:lumMod val="20000"/>
              <a:lumOff val="80000"/>
              <a:alpha val="20000"/>
            </a:schemeClr>
          </a:solidFill>
          <a:ln w="1905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051" name="Rectangle 2050">
            <a:extLst>
              <a:ext uri="{FF2B5EF4-FFF2-40B4-BE49-F238E27FC236}">
                <a16:creationId xmlns:a16="http://schemas.microsoft.com/office/drawing/2014/main" id="{83430D04-4FB6-069C-9CDE-788BBC412D78}"/>
              </a:ext>
            </a:extLst>
          </p:cNvPr>
          <p:cNvSpPr/>
          <p:nvPr/>
        </p:nvSpPr>
        <p:spPr bwMode="gray">
          <a:xfrm>
            <a:off x="6359971" y="1254025"/>
            <a:ext cx="5490139" cy="2974093"/>
          </a:xfrm>
          <a:prstGeom prst="rect">
            <a:avLst/>
          </a:prstGeom>
          <a:solidFill>
            <a:schemeClr val="accent2">
              <a:lumMod val="20000"/>
              <a:lumOff val="80000"/>
              <a:alpha val="20000"/>
            </a:schemeClr>
          </a:solidFill>
          <a:ln w="1905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3BC8A91-5A7A-43B0-9AEC-E8EFEC1F9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/>
          <a:lstStyle/>
          <a:p>
            <a:r>
              <a:rPr lang="en-US" sz="3200" b="1" spc="-75" dirty="0">
                <a:solidFill>
                  <a:srgbClr val="000000"/>
                </a:solidFill>
                <a:latin typeface="Chronicle Display Semi" pitchFamily="50" charset="0"/>
              </a:rPr>
              <a:t>Pre-Processing and Transformation</a:t>
            </a:r>
            <a:endParaRPr lang="en-US" sz="1800" b="1" dirty="0">
              <a:latin typeface="Chronicle Display Semi"/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393DB15E-F8D9-40A0-9AAF-EF377C3FC491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61" name="object 3">
              <a:extLst>
                <a:ext uri="{FF2B5EF4-FFF2-40B4-BE49-F238E27FC236}">
                  <a16:creationId xmlns:a16="http://schemas.microsoft.com/office/drawing/2014/main" id="{B49A43F9-939C-43E8-865B-78D0135BEF71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object 2">
              <a:extLst>
                <a:ext uri="{FF2B5EF4-FFF2-40B4-BE49-F238E27FC236}">
                  <a16:creationId xmlns:a16="http://schemas.microsoft.com/office/drawing/2014/main" id="{F0F1692B-A57D-451B-9DB4-45437C658B69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1E42ECB3-692F-C92C-A2D8-FB261E84EB2D}"/>
              </a:ext>
            </a:extLst>
          </p:cNvPr>
          <p:cNvGrpSpPr/>
          <p:nvPr/>
        </p:nvGrpSpPr>
        <p:grpSpPr>
          <a:xfrm>
            <a:off x="11151310" y="309698"/>
            <a:ext cx="588089" cy="415058"/>
            <a:chOff x="7558088" y="2198688"/>
            <a:chExt cx="1189038" cy="766762"/>
          </a:xfrm>
          <a:solidFill>
            <a:schemeClr val="bg1"/>
          </a:solidFill>
        </p:grpSpPr>
        <p:sp>
          <p:nvSpPr>
            <p:cNvPr id="3" name="Freeform 224">
              <a:extLst>
                <a:ext uri="{FF2B5EF4-FFF2-40B4-BE49-F238E27FC236}">
                  <a16:creationId xmlns:a16="http://schemas.microsoft.com/office/drawing/2014/main" id="{C35B8DAB-0459-ABCE-3F2D-A932D0D5C8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2413" y="2393950"/>
              <a:ext cx="311150" cy="266700"/>
            </a:xfrm>
            <a:custGeom>
              <a:avLst/>
              <a:gdLst>
                <a:gd name="T0" fmla="*/ 53 w 133"/>
                <a:gd name="T1" fmla="*/ 0 h 114"/>
                <a:gd name="T2" fmla="*/ 0 w 133"/>
                <a:gd name="T3" fmla="*/ 53 h 114"/>
                <a:gd name="T4" fmla="*/ 0 w 133"/>
                <a:gd name="T5" fmla="*/ 98 h 114"/>
                <a:gd name="T6" fmla="*/ 4 w 133"/>
                <a:gd name="T7" fmla="*/ 103 h 114"/>
                <a:gd name="T8" fmla="*/ 18 w 133"/>
                <a:gd name="T9" fmla="*/ 114 h 114"/>
                <a:gd name="T10" fmla="*/ 23 w 133"/>
                <a:gd name="T11" fmla="*/ 90 h 114"/>
                <a:gd name="T12" fmla="*/ 23 w 133"/>
                <a:gd name="T13" fmla="*/ 53 h 114"/>
                <a:gd name="T14" fmla="*/ 53 w 133"/>
                <a:gd name="T15" fmla="*/ 23 h 114"/>
                <a:gd name="T16" fmla="*/ 133 w 133"/>
                <a:gd name="T17" fmla="*/ 23 h 114"/>
                <a:gd name="T18" fmla="*/ 121 w 133"/>
                <a:gd name="T19" fmla="*/ 0 h 114"/>
                <a:gd name="T20" fmla="*/ 53 w 133"/>
                <a:gd name="T21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3" h="114">
                  <a:moveTo>
                    <a:pt x="53" y="0"/>
                  </a:moveTo>
                  <a:cubicBezTo>
                    <a:pt x="23" y="0"/>
                    <a:pt x="0" y="23"/>
                    <a:pt x="0" y="53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" y="100"/>
                    <a:pt x="3" y="102"/>
                    <a:pt x="4" y="103"/>
                  </a:cubicBezTo>
                  <a:cubicBezTo>
                    <a:pt x="8" y="107"/>
                    <a:pt x="13" y="111"/>
                    <a:pt x="18" y="114"/>
                  </a:cubicBezTo>
                  <a:cubicBezTo>
                    <a:pt x="23" y="90"/>
                    <a:pt x="23" y="90"/>
                    <a:pt x="23" y="90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3" y="36"/>
                    <a:pt x="36" y="23"/>
                    <a:pt x="53" y="23"/>
                  </a:cubicBezTo>
                  <a:cubicBezTo>
                    <a:pt x="133" y="23"/>
                    <a:pt x="133" y="23"/>
                    <a:pt x="133" y="23"/>
                  </a:cubicBezTo>
                  <a:cubicBezTo>
                    <a:pt x="131" y="14"/>
                    <a:pt x="126" y="7"/>
                    <a:pt x="121" y="0"/>
                  </a:cubicBezTo>
                  <a:lnTo>
                    <a:pt x="5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5" name="Freeform 225">
              <a:extLst>
                <a:ext uri="{FF2B5EF4-FFF2-40B4-BE49-F238E27FC236}">
                  <a16:creationId xmlns:a16="http://schemas.microsoft.com/office/drawing/2014/main" id="{82EE0CF3-18A3-7CD1-5537-EAF588EFD1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970838" y="2508250"/>
              <a:ext cx="225425" cy="180975"/>
            </a:xfrm>
            <a:custGeom>
              <a:avLst/>
              <a:gdLst>
                <a:gd name="T0" fmla="*/ 73 w 96"/>
                <a:gd name="T1" fmla="*/ 54 h 77"/>
                <a:gd name="T2" fmla="*/ 96 w 96"/>
                <a:gd name="T3" fmla="*/ 1 h 77"/>
                <a:gd name="T4" fmla="*/ 70 w 96"/>
                <a:gd name="T5" fmla="*/ 1 h 77"/>
                <a:gd name="T6" fmla="*/ 6 w 96"/>
                <a:gd name="T7" fmla="*/ 45 h 77"/>
                <a:gd name="T8" fmla="*/ 0 w 96"/>
                <a:gd name="T9" fmla="*/ 75 h 77"/>
                <a:gd name="T10" fmla="*/ 17 w 96"/>
                <a:gd name="T11" fmla="*/ 77 h 77"/>
                <a:gd name="T12" fmla="*/ 73 w 96"/>
                <a:gd name="T13" fmla="*/ 5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77">
                  <a:moveTo>
                    <a:pt x="73" y="54"/>
                  </a:moveTo>
                  <a:cubicBezTo>
                    <a:pt x="87" y="40"/>
                    <a:pt x="95" y="21"/>
                    <a:pt x="96" y="1"/>
                  </a:cubicBezTo>
                  <a:cubicBezTo>
                    <a:pt x="82" y="1"/>
                    <a:pt x="70" y="1"/>
                    <a:pt x="70" y="1"/>
                  </a:cubicBezTo>
                  <a:cubicBezTo>
                    <a:pt x="40" y="0"/>
                    <a:pt x="11" y="20"/>
                    <a:pt x="6" y="4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6" y="76"/>
                    <a:pt x="11" y="77"/>
                    <a:pt x="17" y="77"/>
                  </a:cubicBezTo>
                  <a:cubicBezTo>
                    <a:pt x="38" y="77"/>
                    <a:pt x="58" y="69"/>
                    <a:pt x="73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6" name="Freeform 226">
              <a:extLst>
                <a:ext uri="{FF2B5EF4-FFF2-40B4-BE49-F238E27FC236}">
                  <a16:creationId xmlns:a16="http://schemas.microsoft.com/office/drawing/2014/main" id="{9BBEFD13-2A70-6B17-D9A3-01179347ABE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5013" y="2374900"/>
              <a:ext cx="290513" cy="77787"/>
            </a:xfrm>
            <a:custGeom>
              <a:avLst/>
              <a:gdLst>
                <a:gd name="T0" fmla="*/ 89 w 124"/>
                <a:gd name="T1" fmla="*/ 0 h 33"/>
                <a:gd name="T2" fmla="*/ 0 w 124"/>
                <a:gd name="T3" fmla="*/ 0 h 33"/>
                <a:gd name="T4" fmla="*/ 5 w 124"/>
                <a:gd name="T5" fmla="*/ 16 h 33"/>
                <a:gd name="T6" fmla="*/ 89 w 124"/>
                <a:gd name="T7" fmla="*/ 16 h 33"/>
                <a:gd name="T8" fmla="*/ 109 w 124"/>
                <a:gd name="T9" fmla="*/ 33 h 33"/>
                <a:gd name="T10" fmla="*/ 124 w 124"/>
                <a:gd name="T11" fmla="*/ 33 h 33"/>
                <a:gd name="T12" fmla="*/ 89 w 124"/>
                <a:gd name="T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33">
                  <a:moveTo>
                    <a:pt x="8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5"/>
                    <a:pt x="3" y="10"/>
                    <a:pt x="5" y="16"/>
                  </a:cubicBezTo>
                  <a:cubicBezTo>
                    <a:pt x="89" y="16"/>
                    <a:pt x="89" y="16"/>
                    <a:pt x="89" y="16"/>
                  </a:cubicBezTo>
                  <a:cubicBezTo>
                    <a:pt x="99" y="16"/>
                    <a:pt x="108" y="23"/>
                    <a:pt x="109" y="33"/>
                  </a:cubicBezTo>
                  <a:cubicBezTo>
                    <a:pt x="115" y="33"/>
                    <a:pt x="120" y="33"/>
                    <a:pt x="124" y="33"/>
                  </a:cubicBezTo>
                  <a:cubicBezTo>
                    <a:pt x="123" y="15"/>
                    <a:pt x="108" y="0"/>
                    <a:pt x="8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227">
              <a:extLst>
                <a:ext uri="{FF2B5EF4-FFF2-40B4-BE49-F238E27FC236}">
                  <a16:creationId xmlns:a16="http://schemas.microsoft.com/office/drawing/2014/main" id="{B10742B4-7938-44D8-7C15-4F533DAEFC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69238" y="2493963"/>
              <a:ext cx="877888" cy="458787"/>
            </a:xfrm>
            <a:custGeom>
              <a:avLst/>
              <a:gdLst>
                <a:gd name="T0" fmla="*/ 341 w 374"/>
                <a:gd name="T1" fmla="*/ 0 h 195"/>
                <a:gd name="T2" fmla="*/ 217 w 374"/>
                <a:gd name="T3" fmla="*/ 0 h 195"/>
                <a:gd name="T4" fmla="*/ 217 w 374"/>
                <a:gd name="T5" fmla="*/ 5 h 195"/>
                <a:gd name="T6" fmla="*/ 171 w 374"/>
                <a:gd name="T7" fmla="*/ 116 h 195"/>
                <a:gd name="T8" fmla="*/ 61 w 374"/>
                <a:gd name="T9" fmla="*/ 162 h 195"/>
                <a:gd name="T10" fmla="*/ 60 w 374"/>
                <a:gd name="T11" fmla="*/ 162 h 195"/>
                <a:gd name="T12" fmla="*/ 60 w 374"/>
                <a:gd name="T13" fmla="*/ 162 h 195"/>
                <a:gd name="T14" fmla="*/ 14 w 374"/>
                <a:gd name="T15" fmla="*/ 155 h 195"/>
                <a:gd name="T16" fmla="*/ 9 w 374"/>
                <a:gd name="T17" fmla="*/ 160 h 195"/>
                <a:gd name="T18" fmla="*/ 1 w 374"/>
                <a:gd name="T19" fmla="*/ 168 h 195"/>
                <a:gd name="T20" fmla="*/ 30 w 374"/>
                <a:gd name="T21" fmla="*/ 195 h 195"/>
                <a:gd name="T22" fmla="*/ 290 w 374"/>
                <a:gd name="T23" fmla="*/ 195 h 195"/>
                <a:gd name="T24" fmla="*/ 334 w 374"/>
                <a:gd name="T25" fmla="*/ 164 h 195"/>
                <a:gd name="T26" fmla="*/ 370 w 374"/>
                <a:gd name="T27" fmla="*/ 30 h 195"/>
                <a:gd name="T28" fmla="*/ 341 w 374"/>
                <a:gd name="T29" fmla="*/ 0 h 195"/>
                <a:gd name="T30" fmla="*/ 307 w 374"/>
                <a:gd name="T31" fmla="*/ 151 h 195"/>
                <a:gd name="T32" fmla="*/ 300 w 374"/>
                <a:gd name="T33" fmla="*/ 156 h 195"/>
                <a:gd name="T34" fmla="*/ 188 w 374"/>
                <a:gd name="T35" fmla="*/ 156 h 195"/>
                <a:gd name="T36" fmla="*/ 183 w 374"/>
                <a:gd name="T37" fmla="*/ 151 h 195"/>
                <a:gd name="T38" fmla="*/ 190 w 374"/>
                <a:gd name="T39" fmla="*/ 146 h 195"/>
                <a:gd name="T40" fmla="*/ 302 w 374"/>
                <a:gd name="T41" fmla="*/ 146 h 195"/>
                <a:gd name="T42" fmla="*/ 307 w 374"/>
                <a:gd name="T43" fmla="*/ 151 h 195"/>
                <a:gd name="T44" fmla="*/ 313 w 374"/>
                <a:gd name="T45" fmla="*/ 130 h 195"/>
                <a:gd name="T46" fmla="*/ 305 w 374"/>
                <a:gd name="T47" fmla="*/ 135 h 195"/>
                <a:gd name="T48" fmla="*/ 193 w 374"/>
                <a:gd name="T49" fmla="*/ 135 h 195"/>
                <a:gd name="T50" fmla="*/ 188 w 374"/>
                <a:gd name="T51" fmla="*/ 130 h 195"/>
                <a:gd name="T52" fmla="*/ 196 w 374"/>
                <a:gd name="T53" fmla="*/ 125 h 195"/>
                <a:gd name="T54" fmla="*/ 308 w 374"/>
                <a:gd name="T55" fmla="*/ 125 h 195"/>
                <a:gd name="T56" fmla="*/ 313 w 374"/>
                <a:gd name="T57" fmla="*/ 13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4" h="195">
                  <a:moveTo>
                    <a:pt x="341" y="0"/>
                  </a:moveTo>
                  <a:cubicBezTo>
                    <a:pt x="341" y="0"/>
                    <a:pt x="273" y="0"/>
                    <a:pt x="217" y="0"/>
                  </a:cubicBezTo>
                  <a:cubicBezTo>
                    <a:pt x="217" y="1"/>
                    <a:pt x="217" y="3"/>
                    <a:pt x="217" y="5"/>
                  </a:cubicBezTo>
                  <a:cubicBezTo>
                    <a:pt x="217" y="47"/>
                    <a:pt x="201" y="86"/>
                    <a:pt x="171" y="116"/>
                  </a:cubicBezTo>
                  <a:cubicBezTo>
                    <a:pt x="142" y="145"/>
                    <a:pt x="102" y="162"/>
                    <a:pt x="61" y="162"/>
                  </a:cubicBezTo>
                  <a:cubicBezTo>
                    <a:pt x="60" y="162"/>
                    <a:pt x="60" y="162"/>
                    <a:pt x="60" y="162"/>
                  </a:cubicBezTo>
                  <a:cubicBezTo>
                    <a:pt x="60" y="162"/>
                    <a:pt x="60" y="162"/>
                    <a:pt x="60" y="162"/>
                  </a:cubicBezTo>
                  <a:cubicBezTo>
                    <a:pt x="44" y="162"/>
                    <a:pt x="29" y="159"/>
                    <a:pt x="14" y="155"/>
                  </a:cubicBezTo>
                  <a:cubicBezTo>
                    <a:pt x="9" y="160"/>
                    <a:pt x="9" y="160"/>
                    <a:pt x="9" y="160"/>
                  </a:cubicBezTo>
                  <a:cubicBezTo>
                    <a:pt x="1" y="168"/>
                    <a:pt x="1" y="168"/>
                    <a:pt x="1" y="168"/>
                  </a:cubicBezTo>
                  <a:cubicBezTo>
                    <a:pt x="0" y="183"/>
                    <a:pt x="12" y="195"/>
                    <a:pt x="30" y="195"/>
                  </a:cubicBezTo>
                  <a:cubicBezTo>
                    <a:pt x="290" y="195"/>
                    <a:pt x="290" y="195"/>
                    <a:pt x="290" y="195"/>
                  </a:cubicBezTo>
                  <a:cubicBezTo>
                    <a:pt x="310" y="195"/>
                    <a:pt x="329" y="181"/>
                    <a:pt x="334" y="164"/>
                  </a:cubicBezTo>
                  <a:cubicBezTo>
                    <a:pt x="370" y="30"/>
                    <a:pt x="370" y="30"/>
                    <a:pt x="370" y="30"/>
                  </a:cubicBezTo>
                  <a:cubicBezTo>
                    <a:pt x="374" y="13"/>
                    <a:pt x="362" y="0"/>
                    <a:pt x="341" y="0"/>
                  </a:cubicBezTo>
                  <a:close/>
                  <a:moveTo>
                    <a:pt x="307" y="151"/>
                  </a:moveTo>
                  <a:cubicBezTo>
                    <a:pt x="306" y="154"/>
                    <a:pt x="303" y="156"/>
                    <a:pt x="300" y="156"/>
                  </a:cubicBezTo>
                  <a:cubicBezTo>
                    <a:pt x="188" y="156"/>
                    <a:pt x="188" y="156"/>
                    <a:pt x="188" y="156"/>
                  </a:cubicBezTo>
                  <a:cubicBezTo>
                    <a:pt x="185" y="156"/>
                    <a:pt x="182" y="154"/>
                    <a:pt x="183" y="151"/>
                  </a:cubicBezTo>
                  <a:cubicBezTo>
                    <a:pt x="184" y="148"/>
                    <a:pt x="187" y="146"/>
                    <a:pt x="190" y="146"/>
                  </a:cubicBezTo>
                  <a:cubicBezTo>
                    <a:pt x="302" y="146"/>
                    <a:pt x="302" y="146"/>
                    <a:pt x="302" y="146"/>
                  </a:cubicBezTo>
                  <a:cubicBezTo>
                    <a:pt x="306" y="146"/>
                    <a:pt x="308" y="148"/>
                    <a:pt x="307" y="151"/>
                  </a:cubicBezTo>
                  <a:close/>
                  <a:moveTo>
                    <a:pt x="313" y="130"/>
                  </a:moveTo>
                  <a:cubicBezTo>
                    <a:pt x="312" y="133"/>
                    <a:pt x="309" y="135"/>
                    <a:pt x="305" y="135"/>
                  </a:cubicBezTo>
                  <a:cubicBezTo>
                    <a:pt x="193" y="135"/>
                    <a:pt x="193" y="135"/>
                    <a:pt x="193" y="135"/>
                  </a:cubicBezTo>
                  <a:cubicBezTo>
                    <a:pt x="190" y="135"/>
                    <a:pt x="188" y="133"/>
                    <a:pt x="188" y="130"/>
                  </a:cubicBezTo>
                  <a:cubicBezTo>
                    <a:pt x="189" y="127"/>
                    <a:pt x="192" y="125"/>
                    <a:pt x="196" y="125"/>
                  </a:cubicBezTo>
                  <a:cubicBezTo>
                    <a:pt x="308" y="125"/>
                    <a:pt x="308" y="125"/>
                    <a:pt x="308" y="125"/>
                  </a:cubicBezTo>
                  <a:cubicBezTo>
                    <a:pt x="311" y="125"/>
                    <a:pt x="313" y="127"/>
                    <a:pt x="313" y="1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228">
              <a:extLst>
                <a:ext uri="{FF2B5EF4-FFF2-40B4-BE49-F238E27FC236}">
                  <a16:creationId xmlns:a16="http://schemas.microsoft.com/office/drawing/2014/main" id="{B0C83731-EDBB-5135-2483-A95719B6C0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58088" y="2198688"/>
              <a:ext cx="762000" cy="766762"/>
            </a:xfrm>
            <a:custGeom>
              <a:avLst/>
              <a:gdLst>
                <a:gd name="T0" fmla="*/ 85 w 325"/>
                <a:gd name="T1" fmla="*/ 240 h 327"/>
                <a:gd name="T2" fmla="*/ 85 w 325"/>
                <a:gd name="T3" fmla="*/ 240 h 327"/>
                <a:gd name="T4" fmla="*/ 58 w 325"/>
                <a:gd name="T5" fmla="*/ 204 h 327"/>
                <a:gd name="T6" fmla="*/ 27 w 325"/>
                <a:gd name="T7" fmla="*/ 235 h 327"/>
                <a:gd name="T8" fmla="*/ 16 w 325"/>
                <a:gd name="T9" fmla="*/ 246 h 327"/>
                <a:gd name="T10" fmla="*/ 16 w 325"/>
                <a:gd name="T11" fmla="*/ 306 h 327"/>
                <a:gd name="T12" fmla="*/ 21 w 325"/>
                <a:gd name="T13" fmla="*/ 311 h 327"/>
                <a:gd name="T14" fmla="*/ 81 w 325"/>
                <a:gd name="T15" fmla="*/ 311 h 327"/>
                <a:gd name="T16" fmla="*/ 92 w 325"/>
                <a:gd name="T17" fmla="*/ 300 h 327"/>
                <a:gd name="T18" fmla="*/ 124 w 325"/>
                <a:gd name="T19" fmla="*/ 268 h 327"/>
                <a:gd name="T20" fmla="*/ 85 w 325"/>
                <a:gd name="T21" fmla="*/ 240 h 327"/>
                <a:gd name="T22" fmla="*/ 286 w 325"/>
                <a:gd name="T23" fmla="*/ 38 h 327"/>
                <a:gd name="T24" fmla="*/ 193 w 325"/>
                <a:gd name="T25" fmla="*/ 0 h 327"/>
                <a:gd name="T26" fmla="*/ 101 w 325"/>
                <a:gd name="T27" fmla="*/ 38 h 327"/>
                <a:gd name="T28" fmla="*/ 62 w 325"/>
                <a:gd name="T29" fmla="*/ 131 h 327"/>
                <a:gd name="T30" fmla="*/ 101 w 325"/>
                <a:gd name="T31" fmla="*/ 224 h 327"/>
                <a:gd name="T32" fmla="*/ 193 w 325"/>
                <a:gd name="T33" fmla="*/ 262 h 327"/>
                <a:gd name="T34" fmla="*/ 286 w 325"/>
                <a:gd name="T35" fmla="*/ 224 h 327"/>
                <a:gd name="T36" fmla="*/ 325 w 325"/>
                <a:gd name="T37" fmla="*/ 131 h 327"/>
                <a:gd name="T38" fmla="*/ 286 w 325"/>
                <a:gd name="T39" fmla="*/ 38 h 327"/>
                <a:gd name="T40" fmla="*/ 267 w 325"/>
                <a:gd name="T41" fmla="*/ 204 h 327"/>
                <a:gd name="T42" fmla="*/ 193 w 325"/>
                <a:gd name="T43" fmla="*/ 235 h 327"/>
                <a:gd name="T44" fmla="*/ 120 w 325"/>
                <a:gd name="T45" fmla="*/ 204 h 327"/>
                <a:gd name="T46" fmla="*/ 90 w 325"/>
                <a:gd name="T47" fmla="*/ 131 h 327"/>
                <a:gd name="T48" fmla="*/ 120 w 325"/>
                <a:gd name="T49" fmla="*/ 58 h 327"/>
                <a:gd name="T50" fmla="*/ 193 w 325"/>
                <a:gd name="T51" fmla="*/ 27 h 327"/>
                <a:gd name="T52" fmla="*/ 267 w 325"/>
                <a:gd name="T53" fmla="*/ 58 h 327"/>
                <a:gd name="T54" fmla="*/ 297 w 325"/>
                <a:gd name="T55" fmla="*/ 131 h 327"/>
                <a:gd name="T56" fmla="*/ 267 w 325"/>
                <a:gd name="T57" fmla="*/ 204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25" h="327">
                  <a:moveTo>
                    <a:pt x="85" y="240"/>
                  </a:moveTo>
                  <a:cubicBezTo>
                    <a:pt x="85" y="240"/>
                    <a:pt x="85" y="240"/>
                    <a:pt x="85" y="240"/>
                  </a:cubicBezTo>
                  <a:cubicBezTo>
                    <a:pt x="74" y="229"/>
                    <a:pt x="65" y="217"/>
                    <a:pt x="58" y="204"/>
                  </a:cubicBezTo>
                  <a:cubicBezTo>
                    <a:pt x="27" y="235"/>
                    <a:pt x="27" y="235"/>
                    <a:pt x="27" y="235"/>
                  </a:cubicBezTo>
                  <a:cubicBezTo>
                    <a:pt x="16" y="246"/>
                    <a:pt x="16" y="246"/>
                    <a:pt x="16" y="246"/>
                  </a:cubicBezTo>
                  <a:cubicBezTo>
                    <a:pt x="0" y="263"/>
                    <a:pt x="0" y="290"/>
                    <a:pt x="16" y="306"/>
                  </a:cubicBezTo>
                  <a:cubicBezTo>
                    <a:pt x="21" y="311"/>
                    <a:pt x="21" y="311"/>
                    <a:pt x="21" y="311"/>
                  </a:cubicBezTo>
                  <a:cubicBezTo>
                    <a:pt x="38" y="327"/>
                    <a:pt x="64" y="327"/>
                    <a:pt x="81" y="311"/>
                  </a:cubicBezTo>
                  <a:cubicBezTo>
                    <a:pt x="92" y="300"/>
                    <a:pt x="92" y="300"/>
                    <a:pt x="92" y="300"/>
                  </a:cubicBezTo>
                  <a:cubicBezTo>
                    <a:pt x="124" y="268"/>
                    <a:pt x="124" y="268"/>
                    <a:pt x="124" y="268"/>
                  </a:cubicBezTo>
                  <a:cubicBezTo>
                    <a:pt x="109" y="261"/>
                    <a:pt x="96" y="251"/>
                    <a:pt x="85" y="240"/>
                  </a:cubicBezTo>
                  <a:close/>
                  <a:moveTo>
                    <a:pt x="286" y="38"/>
                  </a:moveTo>
                  <a:cubicBezTo>
                    <a:pt x="261" y="13"/>
                    <a:pt x="227" y="0"/>
                    <a:pt x="193" y="0"/>
                  </a:cubicBezTo>
                  <a:cubicBezTo>
                    <a:pt x="160" y="0"/>
                    <a:pt x="126" y="13"/>
                    <a:pt x="101" y="38"/>
                  </a:cubicBezTo>
                  <a:cubicBezTo>
                    <a:pt x="75" y="64"/>
                    <a:pt x="62" y="97"/>
                    <a:pt x="62" y="131"/>
                  </a:cubicBezTo>
                  <a:cubicBezTo>
                    <a:pt x="62" y="165"/>
                    <a:pt x="75" y="198"/>
                    <a:pt x="101" y="224"/>
                  </a:cubicBezTo>
                  <a:cubicBezTo>
                    <a:pt x="126" y="250"/>
                    <a:pt x="160" y="262"/>
                    <a:pt x="193" y="262"/>
                  </a:cubicBezTo>
                  <a:cubicBezTo>
                    <a:pt x="227" y="262"/>
                    <a:pt x="261" y="250"/>
                    <a:pt x="286" y="224"/>
                  </a:cubicBezTo>
                  <a:cubicBezTo>
                    <a:pt x="312" y="198"/>
                    <a:pt x="325" y="165"/>
                    <a:pt x="325" y="131"/>
                  </a:cubicBezTo>
                  <a:cubicBezTo>
                    <a:pt x="325" y="97"/>
                    <a:pt x="312" y="64"/>
                    <a:pt x="286" y="38"/>
                  </a:cubicBezTo>
                  <a:close/>
                  <a:moveTo>
                    <a:pt x="267" y="204"/>
                  </a:moveTo>
                  <a:cubicBezTo>
                    <a:pt x="246" y="224"/>
                    <a:pt x="220" y="235"/>
                    <a:pt x="193" y="235"/>
                  </a:cubicBezTo>
                  <a:cubicBezTo>
                    <a:pt x="167" y="235"/>
                    <a:pt x="141" y="224"/>
                    <a:pt x="120" y="204"/>
                  </a:cubicBezTo>
                  <a:cubicBezTo>
                    <a:pt x="100" y="184"/>
                    <a:pt x="90" y="158"/>
                    <a:pt x="90" y="131"/>
                  </a:cubicBezTo>
                  <a:cubicBezTo>
                    <a:pt x="90" y="104"/>
                    <a:pt x="100" y="78"/>
                    <a:pt x="120" y="58"/>
                  </a:cubicBezTo>
                  <a:cubicBezTo>
                    <a:pt x="141" y="38"/>
                    <a:pt x="167" y="28"/>
                    <a:pt x="193" y="27"/>
                  </a:cubicBezTo>
                  <a:cubicBezTo>
                    <a:pt x="220" y="28"/>
                    <a:pt x="246" y="38"/>
                    <a:pt x="267" y="58"/>
                  </a:cubicBezTo>
                  <a:cubicBezTo>
                    <a:pt x="287" y="78"/>
                    <a:pt x="297" y="104"/>
                    <a:pt x="297" y="131"/>
                  </a:cubicBezTo>
                  <a:cubicBezTo>
                    <a:pt x="297" y="158"/>
                    <a:pt x="287" y="184"/>
                    <a:pt x="267" y="2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pic>
        <p:nvPicPr>
          <p:cNvPr id="2050" name="Picture 2" descr="Baseline Icons - Free SVG &amp; PNG Baseline Images - Noun Project">
            <a:extLst>
              <a:ext uri="{FF2B5EF4-FFF2-40B4-BE49-F238E27FC236}">
                <a16:creationId xmlns:a16="http://schemas.microsoft.com/office/drawing/2014/main" id="{018CFFB5-4D1E-8DA0-961A-65A5CB220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3885" y="1175664"/>
            <a:ext cx="2220685" cy="2220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544974B-7DBB-EB04-E152-CCC9E2529873}"/>
              </a:ext>
            </a:extLst>
          </p:cNvPr>
          <p:cNvSpPr/>
          <p:nvPr/>
        </p:nvSpPr>
        <p:spPr bwMode="gray">
          <a:xfrm>
            <a:off x="6653101" y="1356369"/>
            <a:ext cx="4901904" cy="528592"/>
          </a:xfrm>
          <a:prstGeom prst="round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My first board. Ready for the upcoming season!!</a:t>
            </a:r>
          </a:p>
        </p:txBody>
      </p:sp>
      <p:sp>
        <p:nvSpPr>
          <p:cNvPr id="30" name="Rectangle 5">
            <a:extLst>
              <a:ext uri="{FF2B5EF4-FFF2-40B4-BE49-F238E27FC236}">
                <a16:creationId xmlns:a16="http://schemas.microsoft.com/office/drawing/2014/main" id="{BD321F3D-3EAA-AF93-AC06-1087337F7A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9900" y="3713616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" name="Arrow: Right 32">
            <a:extLst>
              <a:ext uri="{FF2B5EF4-FFF2-40B4-BE49-F238E27FC236}">
                <a16:creationId xmlns:a16="http://schemas.microsoft.com/office/drawing/2014/main" id="{9C8F72AE-0D2C-E766-C179-24EB8F3B479D}"/>
              </a:ext>
            </a:extLst>
          </p:cNvPr>
          <p:cNvSpPr/>
          <p:nvPr/>
        </p:nvSpPr>
        <p:spPr bwMode="gray">
          <a:xfrm rot="5400000">
            <a:off x="8794071" y="2162883"/>
            <a:ext cx="876979" cy="528592"/>
          </a:xfrm>
          <a:prstGeom prst="rightArrow">
            <a:avLst/>
          </a:prstGeom>
          <a:solidFill>
            <a:schemeClr val="accent3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93B5C862-97C9-AD1E-A9C0-4F1D68752948}"/>
              </a:ext>
            </a:extLst>
          </p:cNvPr>
          <p:cNvSpPr/>
          <p:nvPr/>
        </p:nvSpPr>
        <p:spPr bwMode="gray">
          <a:xfrm>
            <a:off x="6653101" y="2986033"/>
            <a:ext cx="1200762" cy="528592"/>
          </a:xfrm>
          <a:prstGeom prst="round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my</a:t>
            </a: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019AAFB4-0A91-A190-302A-348D81EF75F1}"/>
              </a:ext>
            </a:extLst>
          </p:cNvPr>
          <p:cNvSpPr/>
          <p:nvPr/>
        </p:nvSpPr>
        <p:spPr bwMode="gray">
          <a:xfrm>
            <a:off x="7886815" y="2986033"/>
            <a:ext cx="1200762" cy="528592"/>
          </a:xfrm>
          <a:prstGeom prst="round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first</a:t>
            </a: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1A851AC2-17F2-7053-A32F-03390756CD1B}"/>
              </a:ext>
            </a:extLst>
          </p:cNvPr>
          <p:cNvSpPr/>
          <p:nvPr/>
        </p:nvSpPr>
        <p:spPr bwMode="gray">
          <a:xfrm>
            <a:off x="9120529" y="2986033"/>
            <a:ext cx="1200762" cy="528592"/>
          </a:xfrm>
          <a:prstGeom prst="round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board</a:t>
            </a: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672BFAB6-9402-ADBE-D965-EDB5FCE81AB8}"/>
              </a:ext>
            </a:extLst>
          </p:cNvPr>
          <p:cNvSpPr/>
          <p:nvPr/>
        </p:nvSpPr>
        <p:spPr bwMode="gray">
          <a:xfrm>
            <a:off x="10354243" y="2986033"/>
            <a:ext cx="1200762" cy="528592"/>
          </a:xfrm>
          <a:prstGeom prst="round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ready</a:t>
            </a: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308562C3-DC0D-5E7D-86FD-A098B25AB344}"/>
              </a:ext>
            </a:extLst>
          </p:cNvPr>
          <p:cNvSpPr/>
          <p:nvPr/>
        </p:nvSpPr>
        <p:spPr bwMode="gray">
          <a:xfrm>
            <a:off x="6653101" y="3537660"/>
            <a:ext cx="1200762" cy="528592"/>
          </a:xfrm>
          <a:prstGeom prst="round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for</a:t>
            </a: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A00B53D2-C744-5FE1-3226-4EE221A1BA3A}"/>
              </a:ext>
            </a:extLst>
          </p:cNvPr>
          <p:cNvSpPr/>
          <p:nvPr/>
        </p:nvSpPr>
        <p:spPr bwMode="gray">
          <a:xfrm>
            <a:off x="7886815" y="3537660"/>
            <a:ext cx="1200762" cy="528592"/>
          </a:xfrm>
          <a:prstGeom prst="round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the</a:t>
            </a: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43FBF712-8B59-44DC-8BA9-DF8DB39206DE}"/>
              </a:ext>
            </a:extLst>
          </p:cNvPr>
          <p:cNvSpPr/>
          <p:nvPr/>
        </p:nvSpPr>
        <p:spPr bwMode="gray">
          <a:xfrm>
            <a:off x="9120529" y="3537660"/>
            <a:ext cx="1200762" cy="528592"/>
          </a:xfrm>
          <a:prstGeom prst="round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upcoming</a:t>
            </a: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EAD50A6F-5203-1A03-1D77-FB6EB919CF45}"/>
              </a:ext>
            </a:extLst>
          </p:cNvPr>
          <p:cNvSpPr/>
          <p:nvPr/>
        </p:nvSpPr>
        <p:spPr bwMode="gray">
          <a:xfrm>
            <a:off x="10354243" y="3537660"/>
            <a:ext cx="1200762" cy="528592"/>
          </a:xfrm>
          <a:prstGeom prst="round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season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BB65F5A9-2675-BD89-B631-076187BE99DF}"/>
              </a:ext>
            </a:extLst>
          </p:cNvPr>
          <p:cNvSpPr txBox="1"/>
          <p:nvPr/>
        </p:nvSpPr>
        <p:spPr>
          <a:xfrm>
            <a:off x="9423240" y="2188381"/>
            <a:ext cx="817611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1200" b="1" dirty="0"/>
              <a:t>Tokenize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189C0058-79E8-ECF7-B0DE-2AD969431B9B}"/>
              </a:ext>
            </a:extLst>
          </p:cNvPr>
          <p:cNvSpPr/>
          <p:nvPr/>
        </p:nvSpPr>
        <p:spPr bwMode="gray">
          <a:xfrm rot="10800000" flipV="1">
            <a:off x="820853" y="3487093"/>
            <a:ext cx="4526752" cy="490061"/>
          </a:xfrm>
          <a:prstGeom prst="rect">
            <a:avLst/>
          </a:prstGeom>
          <a:solidFill>
            <a:schemeClr val="bg1">
              <a:alpha val="6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2000" b="1" dirty="0"/>
              <a:t>Skiers: 51.2%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2000" b="1" dirty="0"/>
              <a:t>Snowboarders: 48.8%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0DBA47A1-24CD-9B60-8FC0-271B09EE4295}"/>
              </a:ext>
            </a:extLst>
          </p:cNvPr>
          <p:cNvSpPr/>
          <p:nvPr/>
        </p:nvSpPr>
        <p:spPr bwMode="gray">
          <a:xfrm rot="10800000" flipV="1">
            <a:off x="339160" y="949526"/>
            <a:ext cx="5490139" cy="306718"/>
          </a:xfrm>
          <a:prstGeom prst="rect">
            <a:avLst/>
          </a:prstGeom>
          <a:solidFill>
            <a:schemeClr val="bg1">
              <a:alpha val="60000"/>
            </a:schemeClr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/>
              <a:t>Baseline Model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53D9E0D0-74D0-436C-0319-56945CD467B4}"/>
              </a:ext>
            </a:extLst>
          </p:cNvPr>
          <p:cNvSpPr/>
          <p:nvPr/>
        </p:nvSpPr>
        <p:spPr bwMode="gray">
          <a:xfrm rot="10800000" flipV="1">
            <a:off x="6362703" y="947305"/>
            <a:ext cx="5490139" cy="306718"/>
          </a:xfrm>
          <a:prstGeom prst="rect">
            <a:avLst/>
          </a:prstGeom>
          <a:solidFill>
            <a:schemeClr val="bg1">
              <a:alpha val="60000"/>
            </a:schemeClr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r>
              <a:rPr lang="en-US" sz="1600" b="1" dirty="0" err="1"/>
              <a:t>RegexpTokenizer</a:t>
            </a:r>
            <a:endParaRPr lang="en-US" sz="1600" b="1" dirty="0"/>
          </a:p>
        </p:txBody>
      </p:sp>
      <p:sp>
        <p:nvSpPr>
          <p:cNvPr id="2048" name="Rectangle 2047">
            <a:extLst>
              <a:ext uri="{FF2B5EF4-FFF2-40B4-BE49-F238E27FC236}">
                <a16:creationId xmlns:a16="http://schemas.microsoft.com/office/drawing/2014/main" id="{81D3BAD5-1E7D-CF10-1453-7EEFB85A41C6}"/>
              </a:ext>
            </a:extLst>
          </p:cNvPr>
          <p:cNvSpPr/>
          <p:nvPr/>
        </p:nvSpPr>
        <p:spPr bwMode="gray">
          <a:xfrm rot="10800000" flipV="1">
            <a:off x="339156" y="4337380"/>
            <a:ext cx="11510954" cy="306718"/>
          </a:xfrm>
          <a:prstGeom prst="rect">
            <a:avLst/>
          </a:prstGeom>
          <a:solidFill>
            <a:schemeClr val="bg1">
              <a:alpha val="60000"/>
            </a:schemeClr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r>
              <a:rPr lang="en-US" sz="1600" b="1" dirty="0"/>
              <a:t>Text Transformation – </a:t>
            </a:r>
            <a:r>
              <a:rPr lang="en-US" sz="1600" b="1" dirty="0" err="1"/>
              <a:t>CountVectorizer</a:t>
            </a:r>
            <a:r>
              <a:rPr lang="en-US" sz="1600" b="1" dirty="0"/>
              <a:t> and </a:t>
            </a:r>
            <a:r>
              <a:rPr lang="en-US" sz="1600" b="1" dirty="0" err="1"/>
              <a:t>TfidfVectorizer</a:t>
            </a:r>
            <a:endParaRPr lang="en-US" sz="1600" b="1" dirty="0"/>
          </a:p>
        </p:txBody>
      </p:sp>
      <p:graphicFrame>
        <p:nvGraphicFramePr>
          <p:cNvPr id="2053" name="Table 2053">
            <a:extLst>
              <a:ext uri="{FF2B5EF4-FFF2-40B4-BE49-F238E27FC236}">
                <a16:creationId xmlns:a16="http://schemas.microsoft.com/office/drawing/2014/main" id="{495628DD-C055-7BC1-F5AE-15E8DD3921A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0025063"/>
              </p:ext>
            </p:extLst>
          </p:nvPr>
        </p:nvGraphicFramePr>
        <p:xfrm>
          <a:off x="1629116" y="4685575"/>
          <a:ext cx="2085634" cy="201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5634">
                  <a:extLst>
                    <a:ext uri="{9D8B030D-6E8A-4147-A177-3AD203B41FA5}">
                      <a16:colId xmlns:a16="http://schemas.microsoft.com/office/drawing/2014/main" val="835998297"/>
                    </a:ext>
                  </a:extLst>
                </a:gridCol>
              </a:tblGrid>
              <a:tr h="172088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Board Bra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7128168"/>
                  </a:ext>
                </a:extLst>
              </a:tr>
              <a:tr h="172088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Burt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040785"/>
                  </a:ext>
                </a:extLst>
              </a:tr>
              <a:tr h="172088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Burt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07708951"/>
                  </a:ext>
                </a:extLst>
              </a:tr>
              <a:tr h="172088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valanch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4972035"/>
                  </a:ext>
                </a:extLst>
              </a:tr>
              <a:tr h="172088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K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1521175"/>
                  </a:ext>
                </a:extLst>
              </a:tr>
              <a:tr h="172088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valanch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871467"/>
                  </a:ext>
                </a:extLst>
              </a:tr>
            </a:tbl>
          </a:graphicData>
        </a:graphic>
      </p:graphicFrame>
      <p:graphicFrame>
        <p:nvGraphicFramePr>
          <p:cNvPr id="2054" name="Table 2053">
            <a:extLst>
              <a:ext uri="{FF2B5EF4-FFF2-40B4-BE49-F238E27FC236}">
                <a16:creationId xmlns:a16="http://schemas.microsoft.com/office/drawing/2014/main" id="{F1E3BE5B-ADCE-C3D5-26D7-84703CE1F0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6682147"/>
              </p:ext>
            </p:extLst>
          </p:nvPr>
        </p:nvGraphicFramePr>
        <p:xfrm>
          <a:off x="5177576" y="4685575"/>
          <a:ext cx="5541027" cy="201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47009">
                  <a:extLst>
                    <a:ext uri="{9D8B030D-6E8A-4147-A177-3AD203B41FA5}">
                      <a16:colId xmlns:a16="http://schemas.microsoft.com/office/drawing/2014/main" val="835998297"/>
                    </a:ext>
                  </a:extLst>
                </a:gridCol>
                <a:gridCol w="1847009">
                  <a:extLst>
                    <a:ext uri="{9D8B030D-6E8A-4147-A177-3AD203B41FA5}">
                      <a16:colId xmlns:a16="http://schemas.microsoft.com/office/drawing/2014/main" val="3159850613"/>
                    </a:ext>
                  </a:extLst>
                </a:gridCol>
                <a:gridCol w="1847009">
                  <a:extLst>
                    <a:ext uri="{9D8B030D-6E8A-4147-A177-3AD203B41FA5}">
                      <a16:colId xmlns:a16="http://schemas.microsoft.com/office/drawing/2014/main" val="4067679052"/>
                    </a:ext>
                  </a:extLst>
                </a:gridCol>
              </a:tblGrid>
              <a:tr h="172088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Burt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valanch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K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7128168"/>
                  </a:ext>
                </a:extLst>
              </a:tr>
              <a:tr h="172088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040785"/>
                  </a:ext>
                </a:extLst>
              </a:tr>
              <a:tr h="172088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07708951"/>
                  </a:ext>
                </a:extLst>
              </a:tr>
              <a:tr h="172088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4972035"/>
                  </a:ext>
                </a:extLst>
              </a:tr>
              <a:tr h="172088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1521175"/>
                  </a:ext>
                </a:extLst>
              </a:tr>
              <a:tr h="172088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871467"/>
                  </a:ext>
                </a:extLst>
              </a:tr>
            </a:tbl>
          </a:graphicData>
        </a:graphic>
      </p:graphicFrame>
      <p:sp>
        <p:nvSpPr>
          <p:cNvPr id="2055" name="Arrow: Right 2054">
            <a:extLst>
              <a:ext uri="{FF2B5EF4-FFF2-40B4-BE49-F238E27FC236}">
                <a16:creationId xmlns:a16="http://schemas.microsoft.com/office/drawing/2014/main" id="{A8A10684-BC1D-91F0-85C6-D4DE65F6B1BC}"/>
              </a:ext>
            </a:extLst>
          </p:cNvPr>
          <p:cNvSpPr/>
          <p:nvPr/>
        </p:nvSpPr>
        <p:spPr bwMode="gray">
          <a:xfrm>
            <a:off x="4020376" y="5277976"/>
            <a:ext cx="984334" cy="528592"/>
          </a:xfrm>
          <a:prstGeom prst="rightArrow">
            <a:avLst/>
          </a:prstGeom>
          <a:solidFill>
            <a:srgbClr val="59A2D6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058" name="Text Placeholder 4">
            <a:extLst>
              <a:ext uri="{FF2B5EF4-FFF2-40B4-BE49-F238E27FC236}">
                <a16:creationId xmlns:a16="http://schemas.microsoft.com/office/drawing/2014/main" id="{695624A3-319E-1798-5563-D10872BE5A1B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787878">
                    <a:lumMod val="60000"/>
                    <a:lumOff val="40000"/>
                  </a:srgbClr>
                </a:solidFill>
                <a:latin typeface="Open Sans"/>
              </a:rPr>
              <a:t>Methodology and analysis</a:t>
            </a:r>
            <a:endParaRPr kumimoji="0" lang="en-US" sz="900" b="1" i="0" u="none" strike="noStrike" kern="0" cap="all" spc="250" normalizeH="0" baseline="0" noProof="0" dirty="0">
              <a:ln>
                <a:noFill/>
              </a:ln>
              <a:solidFill>
                <a:srgbClr val="787878">
                  <a:lumMod val="60000"/>
                  <a:lumOff val="40000"/>
                </a:srgbClr>
              </a:solidFill>
              <a:effectLst/>
              <a:uLnTx/>
              <a:uFillTx/>
              <a:latin typeface="Open Sans"/>
            </a:endParaRPr>
          </a:p>
        </p:txBody>
      </p:sp>
      <p:sp>
        <p:nvSpPr>
          <p:cNvPr id="2062" name="Arrow: Chevron 2061">
            <a:extLst>
              <a:ext uri="{FF2B5EF4-FFF2-40B4-BE49-F238E27FC236}">
                <a16:creationId xmlns:a16="http://schemas.microsoft.com/office/drawing/2014/main" id="{ECBF4A20-B995-C6A5-8F71-839DE1CB0C8F}"/>
              </a:ext>
            </a:extLst>
          </p:cNvPr>
          <p:cNvSpPr/>
          <p:nvPr/>
        </p:nvSpPr>
        <p:spPr bwMode="gray">
          <a:xfrm>
            <a:off x="2874235" y="142882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2063" name="Arrow: Chevron 2062">
            <a:extLst>
              <a:ext uri="{FF2B5EF4-FFF2-40B4-BE49-F238E27FC236}">
                <a16:creationId xmlns:a16="http://schemas.microsoft.com/office/drawing/2014/main" id="{068B3C85-B3B4-8096-DA5B-27866CE7DA80}"/>
              </a:ext>
            </a:extLst>
          </p:cNvPr>
          <p:cNvSpPr/>
          <p:nvPr/>
        </p:nvSpPr>
        <p:spPr bwMode="gray">
          <a:xfrm>
            <a:off x="3160725" y="137515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2064" name="Arrow: Chevron 2063">
            <a:extLst>
              <a:ext uri="{FF2B5EF4-FFF2-40B4-BE49-F238E27FC236}">
                <a16:creationId xmlns:a16="http://schemas.microsoft.com/office/drawing/2014/main" id="{70CF8346-1267-6EC8-72E2-C6A7A31CE018}"/>
              </a:ext>
            </a:extLst>
          </p:cNvPr>
          <p:cNvSpPr/>
          <p:nvPr/>
        </p:nvSpPr>
        <p:spPr bwMode="gray">
          <a:xfrm>
            <a:off x="3447878" y="139527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171037794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3BC8A91-5A7A-43B0-9AEC-E8EFEC1F9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/>
          <a:lstStyle/>
          <a:p>
            <a:r>
              <a:rPr lang="en-US" sz="3200" b="1" spc="-75" dirty="0">
                <a:solidFill>
                  <a:srgbClr val="000000"/>
                </a:solidFill>
                <a:latin typeface="Chronicle Display Semi" pitchFamily="50" charset="0"/>
              </a:rPr>
              <a:t>Modeling, Tuning, and Testing</a:t>
            </a:r>
            <a:endParaRPr lang="en-US" sz="1800" b="1" dirty="0">
              <a:latin typeface="Chronicle Display Semi"/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393DB15E-F8D9-40A0-9AAF-EF377C3FC491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61" name="object 3">
              <a:extLst>
                <a:ext uri="{FF2B5EF4-FFF2-40B4-BE49-F238E27FC236}">
                  <a16:creationId xmlns:a16="http://schemas.microsoft.com/office/drawing/2014/main" id="{B49A43F9-939C-43E8-865B-78D0135BEF71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object 2">
              <a:extLst>
                <a:ext uri="{FF2B5EF4-FFF2-40B4-BE49-F238E27FC236}">
                  <a16:creationId xmlns:a16="http://schemas.microsoft.com/office/drawing/2014/main" id="{F0F1692B-A57D-451B-9DB4-45437C658B69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1E42ECB3-692F-C92C-A2D8-FB261E84EB2D}"/>
              </a:ext>
            </a:extLst>
          </p:cNvPr>
          <p:cNvGrpSpPr/>
          <p:nvPr/>
        </p:nvGrpSpPr>
        <p:grpSpPr>
          <a:xfrm>
            <a:off x="11151310" y="309698"/>
            <a:ext cx="588089" cy="415058"/>
            <a:chOff x="7558088" y="2198688"/>
            <a:chExt cx="1189038" cy="766762"/>
          </a:xfrm>
          <a:solidFill>
            <a:schemeClr val="bg1"/>
          </a:solidFill>
        </p:grpSpPr>
        <p:sp>
          <p:nvSpPr>
            <p:cNvPr id="3" name="Freeform 224">
              <a:extLst>
                <a:ext uri="{FF2B5EF4-FFF2-40B4-BE49-F238E27FC236}">
                  <a16:creationId xmlns:a16="http://schemas.microsoft.com/office/drawing/2014/main" id="{C35B8DAB-0459-ABCE-3F2D-A932D0D5C8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2413" y="2393950"/>
              <a:ext cx="311150" cy="266700"/>
            </a:xfrm>
            <a:custGeom>
              <a:avLst/>
              <a:gdLst>
                <a:gd name="T0" fmla="*/ 53 w 133"/>
                <a:gd name="T1" fmla="*/ 0 h 114"/>
                <a:gd name="T2" fmla="*/ 0 w 133"/>
                <a:gd name="T3" fmla="*/ 53 h 114"/>
                <a:gd name="T4" fmla="*/ 0 w 133"/>
                <a:gd name="T5" fmla="*/ 98 h 114"/>
                <a:gd name="T6" fmla="*/ 4 w 133"/>
                <a:gd name="T7" fmla="*/ 103 h 114"/>
                <a:gd name="T8" fmla="*/ 18 w 133"/>
                <a:gd name="T9" fmla="*/ 114 h 114"/>
                <a:gd name="T10" fmla="*/ 23 w 133"/>
                <a:gd name="T11" fmla="*/ 90 h 114"/>
                <a:gd name="T12" fmla="*/ 23 w 133"/>
                <a:gd name="T13" fmla="*/ 53 h 114"/>
                <a:gd name="T14" fmla="*/ 53 w 133"/>
                <a:gd name="T15" fmla="*/ 23 h 114"/>
                <a:gd name="T16" fmla="*/ 133 w 133"/>
                <a:gd name="T17" fmla="*/ 23 h 114"/>
                <a:gd name="T18" fmla="*/ 121 w 133"/>
                <a:gd name="T19" fmla="*/ 0 h 114"/>
                <a:gd name="T20" fmla="*/ 53 w 133"/>
                <a:gd name="T21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3" h="114">
                  <a:moveTo>
                    <a:pt x="53" y="0"/>
                  </a:moveTo>
                  <a:cubicBezTo>
                    <a:pt x="23" y="0"/>
                    <a:pt x="0" y="23"/>
                    <a:pt x="0" y="53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" y="100"/>
                    <a:pt x="3" y="102"/>
                    <a:pt x="4" y="103"/>
                  </a:cubicBezTo>
                  <a:cubicBezTo>
                    <a:pt x="8" y="107"/>
                    <a:pt x="13" y="111"/>
                    <a:pt x="18" y="114"/>
                  </a:cubicBezTo>
                  <a:cubicBezTo>
                    <a:pt x="23" y="90"/>
                    <a:pt x="23" y="90"/>
                    <a:pt x="23" y="90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3" y="36"/>
                    <a:pt x="36" y="23"/>
                    <a:pt x="53" y="23"/>
                  </a:cubicBezTo>
                  <a:cubicBezTo>
                    <a:pt x="133" y="23"/>
                    <a:pt x="133" y="23"/>
                    <a:pt x="133" y="23"/>
                  </a:cubicBezTo>
                  <a:cubicBezTo>
                    <a:pt x="131" y="14"/>
                    <a:pt x="126" y="7"/>
                    <a:pt x="121" y="0"/>
                  </a:cubicBezTo>
                  <a:lnTo>
                    <a:pt x="5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5" name="Freeform 225">
              <a:extLst>
                <a:ext uri="{FF2B5EF4-FFF2-40B4-BE49-F238E27FC236}">
                  <a16:creationId xmlns:a16="http://schemas.microsoft.com/office/drawing/2014/main" id="{82EE0CF3-18A3-7CD1-5537-EAF588EFD1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970838" y="2508250"/>
              <a:ext cx="225425" cy="180975"/>
            </a:xfrm>
            <a:custGeom>
              <a:avLst/>
              <a:gdLst>
                <a:gd name="T0" fmla="*/ 73 w 96"/>
                <a:gd name="T1" fmla="*/ 54 h 77"/>
                <a:gd name="T2" fmla="*/ 96 w 96"/>
                <a:gd name="T3" fmla="*/ 1 h 77"/>
                <a:gd name="T4" fmla="*/ 70 w 96"/>
                <a:gd name="T5" fmla="*/ 1 h 77"/>
                <a:gd name="T6" fmla="*/ 6 w 96"/>
                <a:gd name="T7" fmla="*/ 45 h 77"/>
                <a:gd name="T8" fmla="*/ 0 w 96"/>
                <a:gd name="T9" fmla="*/ 75 h 77"/>
                <a:gd name="T10" fmla="*/ 17 w 96"/>
                <a:gd name="T11" fmla="*/ 77 h 77"/>
                <a:gd name="T12" fmla="*/ 73 w 96"/>
                <a:gd name="T13" fmla="*/ 5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77">
                  <a:moveTo>
                    <a:pt x="73" y="54"/>
                  </a:moveTo>
                  <a:cubicBezTo>
                    <a:pt x="87" y="40"/>
                    <a:pt x="95" y="21"/>
                    <a:pt x="96" y="1"/>
                  </a:cubicBezTo>
                  <a:cubicBezTo>
                    <a:pt x="82" y="1"/>
                    <a:pt x="70" y="1"/>
                    <a:pt x="70" y="1"/>
                  </a:cubicBezTo>
                  <a:cubicBezTo>
                    <a:pt x="40" y="0"/>
                    <a:pt x="11" y="20"/>
                    <a:pt x="6" y="4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6" y="76"/>
                    <a:pt x="11" y="77"/>
                    <a:pt x="17" y="77"/>
                  </a:cubicBezTo>
                  <a:cubicBezTo>
                    <a:pt x="38" y="77"/>
                    <a:pt x="58" y="69"/>
                    <a:pt x="73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6" name="Freeform 226">
              <a:extLst>
                <a:ext uri="{FF2B5EF4-FFF2-40B4-BE49-F238E27FC236}">
                  <a16:creationId xmlns:a16="http://schemas.microsoft.com/office/drawing/2014/main" id="{9BBEFD13-2A70-6B17-D9A3-01179347ABE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5013" y="2374900"/>
              <a:ext cx="290513" cy="77787"/>
            </a:xfrm>
            <a:custGeom>
              <a:avLst/>
              <a:gdLst>
                <a:gd name="T0" fmla="*/ 89 w 124"/>
                <a:gd name="T1" fmla="*/ 0 h 33"/>
                <a:gd name="T2" fmla="*/ 0 w 124"/>
                <a:gd name="T3" fmla="*/ 0 h 33"/>
                <a:gd name="T4" fmla="*/ 5 w 124"/>
                <a:gd name="T5" fmla="*/ 16 h 33"/>
                <a:gd name="T6" fmla="*/ 89 w 124"/>
                <a:gd name="T7" fmla="*/ 16 h 33"/>
                <a:gd name="T8" fmla="*/ 109 w 124"/>
                <a:gd name="T9" fmla="*/ 33 h 33"/>
                <a:gd name="T10" fmla="*/ 124 w 124"/>
                <a:gd name="T11" fmla="*/ 33 h 33"/>
                <a:gd name="T12" fmla="*/ 89 w 124"/>
                <a:gd name="T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33">
                  <a:moveTo>
                    <a:pt x="8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5"/>
                    <a:pt x="3" y="10"/>
                    <a:pt x="5" y="16"/>
                  </a:cubicBezTo>
                  <a:cubicBezTo>
                    <a:pt x="89" y="16"/>
                    <a:pt x="89" y="16"/>
                    <a:pt x="89" y="16"/>
                  </a:cubicBezTo>
                  <a:cubicBezTo>
                    <a:pt x="99" y="16"/>
                    <a:pt x="108" y="23"/>
                    <a:pt x="109" y="33"/>
                  </a:cubicBezTo>
                  <a:cubicBezTo>
                    <a:pt x="115" y="33"/>
                    <a:pt x="120" y="33"/>
                    <a:pt x="124" y="33"/>
                  </a:cubicBezTo>
                  <a:cubicBezTo>
                    <a:pt x="123" y="15"/>
                    <a:pt x="108" y="0"/>
                    <a:pt x="8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227">
              <a:extLst>
                <a:ext uri="{FF2B5EF4-FFF2-40B4-BE49-F238E27FC236}">
                  <a16:creationId xmlns:a16="http://schemas.microsoft.com/office/drawing/2014/main" id="{B10742B4-7938-44D8-7C15-4F533DAEFC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69238" y="2493963"/>
              <a:ext cx="877888" cy="458787"/>
            </a:xfrm>
            <a:custGeom>
              <a:avLst/>
              <a:gdLst>
                <a:gd name="T0" fmla="*/ 341 w 374"/>
                <a:gd name="T1" fmla="*/ 0 h 195"/>
                <a:gd name="T2" fmla="*/ 217 w 374"/>
                <a:gd name="T3" fmla="*/ 0 h 195"/>
                <a:gd name="T4" fmla="*/ 217 w 374"/>
                <a:gd name="T5" fmla="*/ 5 h 195"/>
                <a:gd name="T6" fmla="*/ 171 w 374"/>
                <a:gd name="T7" fmla="*/ 116 h 195"/>
                <a:gd name="T8" fmla="*/ 61 w 374"/>
                <a:gd name="T9" fmla="*/ 162 h 195"/>
                <a:gd name="T10" fmla="*/ 60 w 374"/>
                <a:gd name="T11" fmla="*/ 162 h 195"/>
                <a:gd name="T12" fmla="*/ 60 w 374"/>
                <a:gd name="T13" fmla="*/ 162 h 195"/>
                <a:gd name="T14" fmla="*/ 14 w 374"/>
                <a:gd name="T15" fmla="*/ 155 h 195"/>
                <a:gd name="T16" fmla="*/ 9 w 374"/>
                <a:gd name="T17" fmla="*/ 160 h 195"/>
                <a:gd name="T18" fmla="*/ 1 w 374"/>
                <a:gd name="T19" fmla="*/ 168 h 195"/>
                <a:gd name="T20" fmla="*/ 30 w 374"/>
                <a:gd name="T21" fmla="*/ 195 h 195"/>
                <a:gd name="T22" fmla="*/ 290 w 374"/>
                <a:gd name="T23" fmla="*/ 195 h 195"/>
                <a:gd name="T24" fmla="*/ 334 w 374"/>
                <a:gd name="T25" fmla="*/ 164 h 195"/>
                <a:gd name="T26" fmla="*/ 370 w 374"/>
                <a:gd name="T27" fmla="*/ 30 h 195"/>
                <a:gd name="T28" fmla="*/ 341 w 374"/>
                <a:gd name="T29" fmla="*/ 0 h 195"/>
                <a:gd name="T30" fmla="*/ 307 w 374"/>
                <a:gd name="T31" fmla="*/ 151 h 195"/>
                <a:gd name="T32" fmla="*/ 300 w 374"/>
                <a:gd name="T33" fmla="*/ 156 h 195"/>
                <a:gd name="T34" fmla="*/ 188 w 374"/>
                <a:gd name="T35" fmla="*/ 156 h 195"/>
                <a:gd name="T36" fmla="*/ 183 w 374"/>
                <a:gd name="T37" fmla="*/ 151 h 195"/>
                <a:gd name="T38" fmla="*/ 190 w 374"/>
                <a:gd name="T39" fmla="*/ 146 h 195"/>
                <a:gd name="T40" fmla="*/ 302 w 374"/>
                <a:gd name="T41" fmla="*/ 146 h 195"/>
                <a:gd name="T42" fmla="*/ 307 w 374"/>
                <a:gd name="T43" fmla="*/ 151 h 195"/>
                <a:gd name="T44" fmla="*/ 313 w 374"/>
                <a:gd name="T45" fmla="*/ 130 h 195"/>
                <a:gd name="T46" fmla="*/ 305 w 374"/>
                <a:gd name="T47" fmla="*/ 135 h 195"/>
                <a:gd name="T48" fmla="*/ 193 w 374"/>
                <a:gd name="T49" fmla="*/ 135 h 195"/>
                <a:gd name="T50" fmla="*/ 188 w 374"/>
                <a:gd name="T51" fmla="*/ 130 h 195"/>
                <a:gd name="T52" fmla="*/ 196 w 374"/>
                <a:gd name="T53" fmla="*/ 125 h 195"/>
                <a:gd name="T54" fmla="*/ 308 w 374"/>
                <a:gd name="T55" fmla="*/ 125 h 195"/>
                <a:gd name="T56" fmla="*/ 313 w 374"/>
                <a:gd name="T57" fmla="*/ 13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4" h="195">
                  <a:moveTo>
                    <a:pt x="341" y="0"/>
                  </a:moveTo>
                  <a:cubicBezTo>
                    <a:pt x="341" y="0"/>
                    <a:pt x="273" y="0"/>
                    <a:pt x="217" y="0"/>
                  </a:cubicBezTo>
                  <a:cubicBezTo>
                    <a:pt x="217" y="1"/>
                    <a:pt x="217" y="3"/>
                    <a:pt x="217" y="5"/>
                  </a:cubicBezTo>
                  <a:cubicBezTo>
                    <a:pt x="217" y="47"/>
                    <a:pt x="201" y="86"/>
                    <a:pt x="171" y="116"/>
                  </a:cubicBezTo>
                  <a:cubicBezTo>
                    <a:pt x="142" y="145"/>
                    <a:pt x="102" y="162"/>
                    <a:pt x="61" y="162"/>
                  </a:cubicBezTo>
                  <a:cubicBezTo>
                    <a:pt x="60" y="162"/>
                    <a:pt x="60" y="162"/>
                    <a:pt x="60" y="162"/>
                  </a:cubicBezTo>
                  <a:cubicBezTo>
                    <a:pt x="60" y="162"/>
                    <a:pt x="60" y="162"/>
                    <a:pt x="60" y="162"/>
                  </a:cubicBezTo>
                  <a:cubicBezTo>
                    <a:pt x="44" y="162"/>
                    <a:pt x="29" y="159"/>
                    <a:pt x="14" y="155"/>
                  </a:cubicBezTo>
                  <a:cubicBezTo>
                    <a:pt x="9" y="160"/>
                    <a:pt x="9" y="160"/>
                    <a:pt x="9" y="160"/>
                  </a:cubicBezTo>
                  <a:cubicBezTo>
                    <a:pt x="1" y="168"/>
                    <a:pt x="1" y="168"/>
                    <a:pt x="1" y="168"/>
                  </a:cubicBezTo>
                  <a:cubicBezTo>
                    <a:pt x="0" y="183"/>
                    <a:pt x="12" y="195"/>
                    <a:pt x="30" y="195"/>
                  </a:cubicBezTo>
                  <a:cubicBezTo>
                    <a:pt x="290" y="195"/>
                    <a:pt x="290" y="195"/>
                    <a:pt x="290" y="195"/>
                  </a:cubicBezTo>
                  <a:cubicBezTo>
                    <a:pt x="310" y="195"/>
                    <a:pt x="329" y="181"/>
                    <a:pt x="334" y="164"/>
                  </a:cubicBezTo>
                  <a:cubicBezTo>
                    <a:pt x="370" y="30"/>
                    <a:pt x="370" y="30"/>
                    <a:pt x="370" y="30"/>
                  </a:cubicBezTo>
                  <a:cubicBezTo>
                    <a:pt x="374" y="13"/>
                    <a:pt x="362" y="0"/>
                    <a:pt x="341" y="0"/>
                  </a:cubicBezTo>
                  <a:close/>
                  <a:moveTo>
                    <a:pt x="307" y="151"/>
                  </a:moveTo>
                  <a:cubicBezTo>
                    <a:pt x="306" y="154"/>
                    <a:pt x="303" y="156"/>
                    <a:pt x="300" y="156"/>
                  </a:cubicBezTo>
                  <a:cubicBezTo>
                    <a:pt x="188" y="156"/>
                    <a:pt x="188" y="156"/>
                    <a:pt x="188" y="156"/>
                  </a:cubicBezTo>
                  <a:cubicBezTo>
                    <a:pt x="185" y="156"/>
                    <a:pt x="182" y="154"/>
                    <a:pt x="183" y="151"/>
                  </a:cubicBezTo>
                  <a:cubicBezTo>
                    <a:pt x="184" y="148"/>
                    <a:pt x="187" y="146"/>
                    <a:pt x="190" y="146"/>
                  </a:cubicBezTo>
                  <a:cubicBezTo>
                    <a:pt x="302" y="146"/>
                    <a:pt x="302" y="146"/>
                    <a:pt x="302" y="146"/>
                  </a:cubicBezTo>
                  <a:cubicBezTo>
                    <a:pt x="306" y="146"/>
                    <a:pt x="308" y="148"/>
                    <a:pt x="307" y="151"/>
                  </a:cubicBezTo>
                  <a:close/>
                  <a:moveTo>
                    <a:pt x="313" y="130"/>
                  </a:moveTo>
                  <a:cubicBezTo>
                    <a:pt x="312" y="133"/>
                    <a:pt x="309" y="135"/>
                    <a:pt x="305" y="135"/>
                  </a:cubicBezTo>
                  <a:cubicBezTo>
                    <a:pt x="193" y="135"/>
                    <a:pt x="193" y="135"/>
                    <a:pt x="193" y="135"/>
                  </a:cubicBezTo>
                  <a:cubicBezTo>
                    <a:pt x="190" y="135"/>
                    <a:pt x="188" y="133"/>
                    <a:pt x="188" y="130"/>
                  </a:cubicBezTo>
                  <a:cubicBezTo>
                    <a:pt x="189" y="127"/>
                    <a:pt x="192" y="125"/>
                    <a:pt x="196" y="125"/>
                  </a:cubicBezTo>
                  <a:cubicBezTo>
                    <a:pt x="308" y="125"/>
                    <a:pt x="308" y="125"/>
                    <a:pt x="308" y="125"/>
                  </a:cubicBezTo>
                  <a:cubicBezTo>
                    <a:pt x="311" y="125"/>
                    <a:pt x="313" y="127"/>
                    <a:pt x="313" y="1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228">
              <a:extLst>
                <a:ext uri="{FF2B5EF4-FFF2-40B4-BE49-F238E27FC236}">
                  <a16:creationId xmlns:a16="http://schemas.microsoft.com/office/drawing/2014/main" id="{B0C83731-EDBB-5135-2483-A95719B6C0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58088" y="2198688"/>
              <a:ext cx="762000" cy="766762"/>
            </a:xfrm>
            <a:custGeom>
              <a:avLst/>
              <a:gdLst>
                <a:gd name="T0" fmla="*/ 85 w 325"/>
                <a:gd name="T1" fmla="*/ 240 h 327"/>
                <a:gd name="T2" fmla="*/ 85 w 325"/>
                <a:gd name="T3" fmla="*/ 240 h 327"/>
                <a:gd name="T4" fmla="*/ 58 w 325"/>
                <a:gd name="T5" fmla="*/ 204 h 327"/>
                <a:gd name="T6" fmla="*/ 27 w 325"/>
                <a:gd name="T7" fmla="*/ 235 h 327"/>
                <a:gd name="T8" fmla="*/ 16 w 325"/>
                <a:gd name="T9" fmla="*/ 246 h 327"/>
                <a:gd name="T10" fmla="*/ 16 w 325"/>
                <a:gd name="T11" fmla="*/ 306 h 327"/>
                <a:gd name="T12" fmla="*/ 21 w 325"/>
                <a:gd name="T13" fmla="*/ 311 h 327"/>
                <a:gd name="T14" fmla="*/ 81 w 325"/>
                <a:gd name="T15" fmla="*/ 311 h 327"/>
                <a:gd name="T16" fmla="*/ 92 w 325"/>
                <a:gd name="T17" fmla="*/ 300 h 327"/>
                <a:gd name="T18" fmla="*/ 124 w 325"/>
                <a:gd name="T19" fmla="*/ 268 h 327"/>
                <a:gd name="T20" fmla="*/ 85 w 325"/>
                <a:gd name="T21" fmla="*/ 240 h 327"/>
                <a:gd name="T22" fmla="*/ 286 w 325"/>
                <a:gd name="T23" fmla="*/ 38 h 327"/>
                <a:gd name="T24" fmla="*/ 193 w 325"/>
                <a:gd name="T25" fmla="*/ 0 h 327"/>
                <a:gd name="T26" fmla="*/ 101 w 325"/>
                <a:gd name="T27" fmla="*/ 38 h 327"/>
                <a:gd name="T28" fmla="*/ 62 w 325"/>
                <a:gd name="T29" fmla="*/ 131 h 327"/>
                <a:gd name="T30" fmla="*/ 101 w 325"/>
                <a:gd name="T31" fmla="*/ 224 h 327"/>
                <a:gd name="T32" fmla="*/ 193 w 325"/>
                <a:gd name="T33" fmla="*/ 262 h 327"/>
                <a:gd name="T34" fmla="*/ 286 w 325"/>
                <a:gd name="T35" fmla="*/ 224 h 327"/>
                <a:gd name="T36" fmla="*/ 325 w 325"/>
                <a:gd name="T37" fmla="*/ 131 h 327"/>
                <a:gd name="T38" fmla="*/ 286 w 325"/>
                <a:gd name="T39" fmla="*/ 38 h 327"/>
                <a:gd name="T40" fmla="*/ 267 w 325"/>
                <a:gd name="T41" fmla="*/ 204 h 327"/>
                <a:gd name="T42" fmla="*/ 193 w 325"/>
                <a:gd name="T43" fmla="*/ 235 h 327"/>
                <a:gd name="T44" fmla="*/ 120 w 325"/>
                <a:gd name="T45" fmla="*/ 204 h 327"/>
                <a:gd name="T46" fmla="*/ 90 w 325"/>
                <a:gd name="T47" fmla="*/ 131 h 327"/>
                <a:gd name="T48" fmla="*/ 120 w 325"/>
                <a:gd name="T49" fmla="*/ 58 h 327"/>
                <a:gd name="T50" fmla="*/ 193 w 325"/>
                <a:gd name="T51" fmla="*/ 27 h 327"/>
                <a:gd name="T52" fmla="*/ 267 w 325"/>
                <a:gd name="T53" fmla="*/ 58 h 327"/>
                <a:gd name="T54" fmla="*/ 297 w 325"/>
                <a:gd name="T55" fmla="*/ 131 h 327"/>
                <a:gd name="T56" fmla="*/ 267 w 325"/>
                <a:gd name="T57" fmla="*/ 204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25" h="327">
                  <a:moveTo>
                    <a:pt x="85" y="240"/>
                  </a:moveTo>
                  <a:cubicBezTo>
                    <a:pt x="85" y="240"/>
                    <a:pt x="85" y="240"/>
                    <a:pt x="85" y="240"/>
                  </a:cubicBezTo>
                  <a:cubicBezTo>
                    <a:pt x="74" y="229"/>
                    <a:pt x="65" y="217"/>
                    <a:pt x="58" y="204"/>
                  </a:cubicBezTo>
                  <a:cubicBezTo>
                    <a:pt x="27" y="235"/>
                    <a:pt x="27" y="235"/>
                    <a:pt x="27" y="235"/>
                  </a:cubicBezTo>
                  <a:cubicBezTo>
                    <a:pt x="16" y="246"/>
                    <a:pt x="16" y="246"/>
                    <a:pt x="16" y="246"/>
                  </a:cubicBezTo>
                  <a:cubicBezTo>
                    <a:pt x="0" y="263"/>
                    <a:pt x="0" y="290"/>
                    <a:pt x="16" y="306"/>
                  </a:cubicBezTo>
                  <a:cubicBezTo>
                    <a:pt x="21" y="311"/>
                    <a:pt x="21" y="311"/>
                    <a:pt x="21" y="311"/>
                  </a:cubicBezTo>
                  <a:cubicBezTo>
                    <a:pt x="38" y="327"/>
                    <a:pt x="64" y="327"/>
                    <a:pt x="81" y="311"/>
                  </a:cubicBezTo>
                  <a:cubicBezTo>
                    <a:pt x="92" y="300"/>
                    <a:pt x="92" y="300"/>
                    <a:pt x="92" y="300"/>
                  </a:cubicBezTo>
                  <a:cubicBezTo>
                    <a:pt x="124" y="268"/>
                    <a:pt x="124" y="268"/>
                    <a:pt x="124" y="268"/>
                  </a:cubicBezTo>
                  <a:cubicBezTo>
                    <a:pt x="109" y="261"/>
                    <a:pt x="96" y="251"/>
                    <a:pt x="85" y="240"/>
                  </a:cubicBezTo>
                  <a:close/>
                  <a:moveTo>
                    <a:pt x="286" y="38"/>
                  </a:moveTo>
                  <a:cubicBezTo>
                    <a:pt x="261" y="13"/>
                    <a:pt x="227" y="0"/>
                    <a:pt x="193" y="0"/>
                  </a:cubicBezTo>
                  <a:cubicBezTo>
                    <a:pt x="160" y="0"/>
                    <a:pt x="126" y="13"/>
                    <a:pt x="101" y="38"/>
                  </a:cubicBezTo>
                  <a:cubicBezTo>
                    <a:pt x="75" y="64"/>
                    <a:pt x="62" y="97"/>
                    <a:pt x="62" y="131"/>
                  </a:cubicBezTo>
                  <a:cubicBezTo>
                    <a:pt x="62" y="165"/>
                    <a:pt x="75" y="198"/>
                    <a:pt x="101" y="224"/>
                  </a:cubicBezTo>
                  <a:cubicBezTo>
                    <a:pt x="126" y="250"/>
                    <a:pt x="160" y="262"/>
                    <a:pt x="193" y="262"/>
                  </a:cubicBezTo>
                  <a:cubicBezTo>
                    <a:pt x="227" y="262"/>
                    <a:pt x="261" y="250"/>
                    <a:pt x="286" y="224"/>
                  </a:cubicBezTo>
                  <a:cubicBezTo>
                    <a:pt x="312" y="198"/>
                    <a:pt x="325" y="165"/>
                    <a:pt x="325" y="131"/>
                  </a:cubicBezTo>
                  <a:cubicBezTo>
                    <a:pt x="325" y="97"/>
                    <a:pt x="312" y="64"/>
                    <a:pt x="286" y="38"/>
                  </a:cubicBezTo>
                  <a:close/>
                  <a:moveTo>
                    <a:pt x="267" y="204"/>
                  </a:moveTo>
                  <a:cubicBezTo>
                    <a:pt x="246" y="224"/>
                    <a:pt x="220" y="235"/>
                    <a:pt x="193" y="235"/>
                  </a:cubicBezTo>
                  <a:cubicBezTo>
                    <a:pt x="167" y="235"/>
                    <a:pt x="141" y="224"/>
                    <a:pt x="120" y="204"/>
                  </a:cubicBezTo>
                  <a:cubicBezTo>
                    <a:pt x="100" y="184"/>
                    <a:pt x="90" y="158"/>
                    <a:pt x="90" y="131"/>
                  </a:cubicBezTo>
                  <a:cubicBezTo>
                    <a:pt x="90" y="104"/>
                    <a:pt x="100" y="78"/>
                    <a:pt x="120" y="58"/>
                  </a:cubicBezTo>
                  <a:cubicBezTo>
                    <a:pt x="141" y="38"/>
                    <a:pt x="167" y="28"/>
                    <a:pt x="193" y="27"/>
                  </a:cubicBezTo>
                  <a:cubicBezTo>
                    <a:pt x="220" y="28"/>
                    <a:pt x="246" y="38"/>
                    <a:pt x="267" y="58"/>
                  </a:cubicBezTo>
                  <a:cubicBezTo>
                    <a:pt x="287" y="78"/>
                    <a:pt x="297" y="104"/>
                    <a:pt x="297" y="131"/>
                  </a:cubicBezTo>
                  <a:cubicBezTo>
                    <a:pt x="297" y="158"/>
                    <a:pt x="287" y="184"/>
                    <a:pt x="267" y="2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9" name="Straight Connector 8">
            <a:extLst>
              <a:ext uri="{FF2B5EF4-FFF2-40B4-BE49-F238E27FC236}">
                <a16:creationId xmlns:a16="http://schemas.microsoft.com/office/drawing/2014/main" id="{4E603DF8-09E0-4461-AD30-F4124AB45125}"/>
              </a:ext>
            </a:extLst>
          </p:cNvPr>
          <p:cNvSpPr/>
          <p:nvPr/>
        </p:nvSpPr>
        <p:spPr>
          <a:xfrm flipV="1">
            <a:off x="785090" y="3180899"/>
            <a:ext cx="10150764" cy="9525"/>
          </a:xfrm>
          <a:prstGeom prst="line">
            <a:avLst/>
          </a:prstGeom>
          <a:ln>
            <a:solidFill>
              <a:srgbClr val="ED8B00"/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0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12" name="Straight Connector 11">
            <a:extLst>
              <a:ext uri="{FF2B5EF4-FFF2-40B4-BE49-F238E27FC236}">
                <a16:creationId xmlns:a16="http://schemas.microsoft.com/office/drawing/2014/main" id="{C48F4A9D-AC4D-7BBA-0A84-B79A6A08269C}"/>
              </a:ext>
            </a:extLst>
          </p:cNvPr>
          <p:cNvSpPr/>
          <p:nvPr/>
        </p:nvSpPr>
        <p:spPr>
          <a:xfrm>
            <a:off x="785089" y="1454058"/>
            <a:ext cx="10150765" cy="0"/>
          </a:xfrm>
          <a:prstGeom prst="line">
            <a:avLst/>
          </a:prstGeom>
          <a:ln>
            <a:solidFill>
              <a:srgbClr val="00ABAB"/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0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17" name="Freeform 11">
            <a:extLst>
              <a:ext uri="{FF2B5EF4-FFF2-40B4-BE49-F238E27FC236}">
                <a16:creationId xmlns:a16="http://schemas.microsoft.com/office/drawing/2014/main" id="{CFFC42EB-463F-A551-CA3D-61CF8A292F67}"/>
              </a:ext>
            </a:extLst>
          </p:cNvPr>
          <p:cNvSpPr/>
          <p:nvPr/>
        </p:nvSpPr>
        <p:spPr>
          <a:xfrm>
            <a:off x="785089" y="1067368"/>
            <a:ext cx="3713431" cy="384048"/>
          </a:xfrm>
          <a:custGeom>
            <a:avLst/>
            <a:gdLst>
              <a:gd name="connsiteX0" fmla="*/ 50946 w 2165847"/>
              <a:gd name="connsiteY0" fmla="*/ 0 h 305612"/>
              <a:gd name="connsiteX1" fmla="*/ 2114901 w 2165847"/>
              <a:gd name="connsiteY1" fmla="*/ 0 h 305612"/>
              <a:gd name="connsiteX2" fmla="*/ 2165847 w 2165847"/>
              <a:gd name="connsiteY2" fmla="*/ 50946 h 305612"/>
              <a:gd name="connsiteX3" fmla="*/ 2165847 w 2165847"/>
              <a:gd name="connsiteY3" fmla="*/ 305612 h 305612"/>
              <a:gd name="connsiteX4" fmla="*/ 2165847 w 2165847"/>
              <a:gd name="connsiteY4" fmla="*/ 305612 h 305612"/>
              <a:gd name="connsiteX5" fmla="*/ 0 w 2165847"/>
              <a:gd name="connsiteY5" fmla="*/ 305612 h 305612"/>
              <a:gd name="connsiteX6" fmla="*/ 0 w 2165847"/>
              <a:gd name="connsiteY6" fmla="*/ 305612 h 305612"/>
              <a:gd name="connsiteX7" fmla="*/ 0 w 2165847"/>
              <a:gd name="connsiteY7" fmla="*/ 50946 h 305612"/>
              <a:gd name="connsiteX8" fmla="*/ 50946 w 2165847"/>
              <a:gd name="connsiteY8" fmla="*/ 0 h 305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65847" h="305612">
                <a:moveTo>
                  <a:pt x="50946" y="0"/>
                </a:moveTo>
                <a:lnTo>
                  <a:pt x="2114901" y="0"/>
                </a:lnTo>
                <a:cubicBezTo>
                  <a:pt x="2143038" y="0"/>
                  <a:pt x="2165847" y="22809"/>
                  <a:pt x="2165847" y="50946"/>
                </a:cubicBezTo>
                <a:lnTo>
                  <a:pt x="2165847" y="305612"/>
                </a:lnTo>
                <a:lnTo>
                  <a:pt x="2165847" y="305612"/>
                </a:lnTo>
                <a:lnTo>
                  <a:pt x="0" y="305612"/>
                </a:lnTo>
                <a:lnTo>
                  <a:pt x="0" y="305612"/>
                </a:lnTo>
                <a:lnTo>
                  <a:pt x="0" y="50946"/>
                </a:lnTo>
                <a:cubicBezTo>
                  <a:pt x="0" y="22809"/>
                  <a:pt x="22809" y="0"/>
                  <a:pt x="50946" y="0"/>
                </a:cubicBezTo>
                <a:close/>
              </a:path>
            </a:pathLst>
          </a:custGeom>
          <a:solidFill>
            <a:srgbClr val="00ABAB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6000"/>
              </a:lnSpc>
            </a:pPr>
            <a:r>
              <a:rPr lang="en-US" sz="1600" b="1" dirty="0">
                <a:solidFill>
                  <a:schemeClr val="bg1"/>
                </a:solidFill>
              </a:rPr>
              <a:t>Logistic Regression</a:t>
            </a:r>
          </a:p>
        </p:txBody>
      </p:sp>
      <p:sp>
        <p:nvSpPr>
          <p:cNvPr id="18" name="Freeform 12">
            <a:extLst>
              <a:ext uri="{FF2B5EF4-FFF2-40B4-BE49-F238E27FC236}">
                <a16:creationId xmlns:a16="http://schemas.microsoft.com/office/drawing/2014/main" id="{37D0F910-9BD9-8E0B-58B2-3FE9235FC039}"/>
              </a:ext>
            </a:extLst>
          </p:cNvPr>
          <p:cNvSpPr/>
          <p:nvPr/>
        </p:nvSpPr>
        <p:spPr>
          <a:xfrm>
            <a:off x="785090" y="1608045"/>
            <a:ext cx="10366220" cy="611188"/>
          </a:xfrm>
          <a:custGeom>
            <a:avLst/>
            <a:gdLst>
              <a:gd name="connsiteX0" fmla="*/ 0 w 8330184"/>
              <a:gd name="connsiteY0" fmla="*/ 0 h 611317"/>
              <a:gd name="connsiteX1" fmla="*/ 8330184 w 8330184"/>
              <a:gd name="connsiteY1" fmla="*/ 0 h 611317"/>
              <a:gd name="connsiteX2" fmla="*/ 8330184 w 8330184"/>
              <a:gd name="connsiteY2" fmla="*/ 611317 h 611317"/>
              <a:gd name="connsiteX3" fmla="*/ 0 w 8330184"/>
              <a:gd name="connsiteY3" fmla="*/ 611317 h 611317"/>
              <a:gd name="connsiteX4" fmla="*/ 0 w 8330184"/>
              <a:gd name="connsiteY4" fmla="*/ 0 h 611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30184" h="611317">
                <a:moveTo>
                  <a:pt x="0" y="0"/>
                </a:moveTo>
                <a:lnTo>
                  <a:pt x="8330184" y="0"/>
                </a:lnTo>
                <a:lnTo>
                  <a:pt x="8330184" y="611317"/>
                </a:lnTo>
                <a:lnTo>
                  <a:pt x="0" y="611317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28571" tIns="28571" rIns="28571" bIns="28571" spcCol="1270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rgbClr val="000000"/>
                </a:solidFill>
              </a:rPr>
              <a:t>Rationale: </a:t>
            </a:r>
            <a:r>
              <a:rPr lang="en-US" sz="1600" dirty="0">
                <a:solidFill>
                  <a:srgbClr val="000000"/>
                </a:solidFill>
              </a:rPr>
              <a:t>Binary classification, large amount of data for sufficient performance, interpretability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rgbClr val="000000"/>
                </a:solidFill>
              </a:rPr>
              <a:t>Hyperparameters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b="1" dirty="0">
                <a:solidFill>
                  <a:srgbClr val="000000"/>
                </a:solidFill>
              </a:rPr>
              <a:t>Tested</a:t>
            </a:r>
            <a:r>
              <a:rPr lang="en-US" sz="1600" dirty="0">
                <a:solidFill>
                  <a:srgbClr val="000000"/>
                </a:solidFill>
              </a:rPr>
              <a:t>: C, penalty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rgbClr val="000000"/>
                </a:solidFill>
              </a:rPr>
              <a:t>Precision Outcome</a:t>
            </a:r>
            <a:r>
              <a:rPr lang="en-US" sz="1600" dirty="0">
                <a:solidFill>
                  <a:srgbClr val="000000"/>
                </a:solidFill>
              </a:rPr>
              <a:t>: 91.33%</a:t>
            </a:r>
          </a:p>
        </p:txBody>
      </p:sp>
      <p:sp>
        <p:nvSpPr>
          <p:cNvPr id="20" name="Freeform 14">
            <a:extLst>
              <a:ext uri="{FF2B5EF4-FFF2-40B4-BE49-F238E27FC236}">
                <a16:creationId xmlns:a16="http://schemas.microsoft.com/office/drawing/2014/main" id="{4F5261B7-AD90-9773-E2B6-DF3E991FF18D}"/>
              </a:ext>
            </a:extLst>
          </p:cNvPr>
          <p:cNvSpPr/>
          <p:nvPr/>
        </p:nvSpPr>
        <p:spPr>
          <a:xfrm>
            <a:off x="785090" y="2799536"/>
            <a:ext cx="3713430" cy="381363"/>
          </a:xfrm>
          <a:custGeom>
            <a:avLst/>
            <a:gdLst>
              <a:gd name="connsiteX0" fmla="*/ 50946 w 2165847"/>
              <a:gd name="connsiteY0" fmla="*/ 0 h 305612"/>
              <a:gd name="connsiteX1" fmla="*/ 2114901 w 2165847"/>
              <a:gd name="connsiteY1" fmla="*/ 0 h 305612"/>
              <a:gd name="connsiteX2" fmla="*/ 2165847 w 2165847"/>
              <a:gd name="connsiteY2" fmla="*/ 50946 h 305612"/>
              <a:gd name="connsiteX3" fmla="*/ 2165847 w 2165847"/>
              <a:gd name="connsiteY3" fmla="*/ 305612 h 305612"/>
              <a:gd name="connsiteX4" fmla="*/ 2165847 w 2165847"/>
              <a:gd name="connsiteY4" fmla="*/ 305612 h 305612"/>
              <a:gd name="connsiteX5" fmla="*/ 0 w 2165847"/>
              <a:gd name="connsiteY5" fmla="*/ 305612 h 305612"/>
              <a:gd name="connsiteX6" fmla="*/ 0 w 2165847"/>
              <a:gd name="connsiteY6" fmla="*/ 305612 h 305612"/>
              <a:gd name="connsiteX7" fmla="*/ 0 w 2165847"/>
              <a:gd name="connsiteY7" fmla="*/ 50946 h 305612"/>
              <a:gd name="connsiteX8" fmla="*/ 50946 w 2165847"/>
              <a:gd name="connsiteY8" fmla="*/ 0 h 305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65847" h="305612">
                <a:moveTo>
                  <a:pt x="50946" y="0"/>
                </a:moveTo>
                <a:lnTo>
                  <a:pt x="2114901" y="0"/>
                </a:lnTo>
                <a:cubicBezTo>
                  <a:pt x="2143038" y="0"/>
                  <a:pt x="2165847" y="22809"/>
                  <a:pt x="2165847" y="50946"/>
                </a:cubicBezTo>
                <a:lnTo>
                  <a:pt x="2165847" y="305612"/>
                </a:lnTo>
                <a:lnTo>
                  <a:pt x="2165847" y="305612"/>
                </a:lnTo>
                <a:lnTo>
                  <a:pt x="0" y="305612"/>
                </a:lnTo>
                <a:lnTo>
                  <a:pt x="0" y="305612"/>
                </a:lnTo>
                <a:lnTo>
                  <a:pt x="0" y="50946"/>
                </a:lnTo>
                <a:cubicBezTo>
                  <a:pt x="0" y="22809"/>
                  <a:pt x="22809" y="0"/>
                  <a:pt x="50946" y="0"/>
                </a:cubicBezTo>
                <a:close/>
              </a:path>
            </a:pathLst>
          </a:custGeom>
          <a:solidFill>
            <a:srgbClr val="ED8B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6000"/>
              </a:lnSpc>
            </a:pPr>
            <a:r>
              <a:rPr lang="en-US" sz="1600" b="1" dirty="0">
                <a:solidFill>
                  <a:schemeClr val="bg1"/>
                </a:solidFill>
              </a:rPr>
              <a:t>Multinomial Naïve Bayes</a:t>
            </a:r>
          </a:p>
        </p:txBody>
      </p:sp>
      <p:sp>
        <p:nvSpPr>
          <p:cNvPr id="21" name="Freeform 12">
            <a:extLst>
              <a:ext uri="{FF2B5EF4-FFF2-40B4-BE49-F238E27FC236}">
                <a16:creationId xmlns:a16="http://schemas.microsoft.com/office/drawing/2014/main" id="{317197D9-1558-F9F7-25D0-FAFA658FE604}"/>
              </a:ext>
            </a:extLst>
          </p:cNvPr>
          <p:cNvSpPr/>
          <p:nvPr/>
        </p:nvSpPr>
        <p:spPr>
          <a:xfrm>
            <a:off x="785090" y="3375077"/>
            <a:ext cx="10366220" cy="836340"/>
          </a:xfrm>
          <a:custGeom>
            <a:avLst/>
            <a:gdLst>
              <a:gd name="connsiteX0" fmla="*/ 0 w 8330184"/>
              <a:gd name="connsiteY0" fmla="*/ 0 h 611317"/>
              <a:gd name="connsiteX1" fmla="*/ 8330184 w 8330184"/>
              <a:gd name="connsiteY1" fmla="*/ 0 h 611317"/>
              <a:gd name="connsiteX2" fmla="*/ 8330184 w 8330184"/>
              <a:gd name="connsiteY2" fmla="*/ 611317 h 611317"/>
              <a:gd name="connsiteX3" fmla="*/ 0 w 8330184"/>
              <a:gd name="connsiteY3" fmla="*/ 611317 h 611317"/>
              <a:gd name="connsiteX4" fmla="*/ 0 w 8330184"/>
              <a:gd name="connsiteY4" fmla="*/ 0 h 611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30184" h="611317">
                <a:moveTo>
                  <a:pt x="0" y="0"/>
                </a:moveTo>
                <a:lnTo>
                  <a:pt x="8330184" y="0"/>
                </a:lnTo>
                <a:lnTo>
                  <a:pt x="8330184" y="611317"/>
                </a:lnTo>
                <a:lnTo>
                  <a:pt x="0" y="611317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28571" tIns="28571" rIns="28571" bIns="28571" spcCol="1270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rgbClr val="000000"/>
                </a:solidFill>
              </a:rPr>
              <a:t>Rationale: </a:t>
            </a:r>
            <a:r>
              <a:rPr lang="en-US" sz="1600" dirty="0">
                <a:solidFill>
                  <a:srgbClr val="000000"/>
                </a:solidFill>
              </a:rPr>
              <a:t>Many discrete features (e.g., word counts for text classification), performance with textual data, computational efficiency and scalability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rgbClr val="000000"/>
                </a:solidFill>
              </a:rPr>
              <a:t>Hyperparameters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b="1" dirty="0">
                <a:solidFill>
                  <a:srgbClr val="000000"/>
                </a:solidFill>
              </a:rPr>
              <a:t>Tested</a:t>
            </a:r>
            <a:r>
              <a:rPr lang="en-US" sz="1600" dirty="0">
                <a:solidFill>
                  <a:srgbClr val="000000"/>
                </a:solidFill>
              </a:rPr>
              <a:t>: Alpha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rgbClr val="000000"/>
                </a:solidFill>
              </a:rPr>
              <a:t>Precision Outcome</a:t>
            </a:r>
            <a:r>
              <a:rPr lang="en-US" sz="1600" dirty="0">
                <a:solidFill>
                  <a:srgbClr val="000000"/>
                </a:solidFill>
              </a:rPr>
              <a:t>: 87.94%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15A743CC-D89D-F692-EE25-23D4491EBC86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787878">
                    <a:lumMod val="60000"/>
                    <a:lumOff val="40000"/>
                  </a:srgbClr>
                </a:solidFill>
                <a:latin typeface="Open Sans"/>
              </a:rPr>
              <a:t>Methodology and analysis</a:t>
            </a:r>
            <a:endParaRPr kumimoji="0" lang="en-US" sz="900" b="1" i="0" u="none" strike="noStrike" kern="0" cap="all" spc="250" normalizeH="0" baseline="0" noProof="0" dirty="0">
              <a:ln>
                <a:noFill/>
              </a:ln>
              <a:solidFill>
                <a:srgbClr val="787878">
                  <a:lumMod val="60000"/>
                  <a:lumOff val="40000"/>
                </a:srgbClr>
              </a:solidFill>
              <a:effectLst/>
              <a:uLnTx/>
              <a:uFillTx/>
              <a:latin typeface="Open Sans"/>
            </a:endParaRPr>
          </a:p>
        </p:txBody>
      </p:sp>
      <p:sp>
        <p:nvSpPr>
          <p:cNvPr id="22" name="Straight Connector 21">
            <a:extLst>
              <a:ext uri="{FF2B5EF4-FFF2-40B4-BE49-F238E27FC236}">
                <a16:creationId xmlns:a16="http://schemas.microsoft.com/office/drawing/2014/main" id="{30FE66B3-E4F8-492F-C3F6-0B4271E4649D}"/>
              </a:ext>
            </a:extLst>
          </p:cNvPr>
          <p:cNvSpPr/>
          <p:nvPr/>
        </p:nvSpPr>
        <p:spPr>
          <a:xfrm flipV="1">
            <a:off x="785090" y="5199901"/>
            <a:ext cx="10150764" cy="9525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0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28" name="Freeform 13">
            <a:extLst>
              <a:ext uri="{FF2B5EF4-FFF2-40B4-BE49-F238E27FC236}">
                <a16:creationId xmlns:a16="http://schemas.microsoft.com/office/drawing/2014/main" id="{991F0C34-E50A-E1C9-2457-86E1AAD72950}"/>
              </a:ext>
            </a:extLst>
          </p:cNvPr>
          <p:cNvSpPr/>
          <p:nvPr/>
        </p:nvSpPr>
        <p:spPr>
          <a:xfrm>
            <a:off x="2952028" y="4904626"/>
            <a:ext cx="6164262" cy="304800"/>
          </a:xfrm>
          <a:custGeom>
            <a:avLst/>
            <a:gdLst>
              <a:gd name="connsiteX0" fmla="*/ 0 w 6164336"/>
              <a:gd name="connsiteY0" fmla="*/ 0 h 305612"/>
              <a:gd name="connsiteX1" fmla="*/ 6164336 w 6164336"/>
              <a:gd name="connsiteY1" fmla="*/ 0 h 305612"/>
              <a:gd name="connsiteX2" fmla="*/ 6164336 w 6164336"/>
              <a:gd name="connsiteY2" fmla="*/ 305612 h 305612"/>
              <a:gd name="connsiteX3" fmla="*/ 0 w 6164336"/>
              <a:gd name="connsiteY3" fmla="*/ 305612 h 305612"/>
              <a:gd name="connsiteX4" fmla="*/ 0 w 6164336"/>
              <a:gd name="connsiteY4" fmla="*/ 0 h 305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64336" h="305612">
                <a:moveTo>
                  <a:pt x="0" y="0"/>
                </a:moveTo>
                <a:lnTo>
                  <a:pt x="6164336" y="0"/>
                </a:lnTo>
                <a:lnTo>
                  <a:pt x="6164336" y="305612"/>
                </a:lnTo>
                <a:lnTo>
                  <a:pt x="0" y="305612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28571" tIns="28571" rIns="28571" bIns="28571" spcCol="1270" anchor="b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6667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lang="en-US" sz="1400" dirty="0">
              <a:solidFill>
                <a:srgbClr val="002776">
                  <a:hueOff val="0"/>
                  <a:satOff val="0"/>
                  <a:lumOff val="0"/>
                  <a:alphaOff val="0"/>
                </a:srgbClr>
              </a:solidFill>
              <a:latin typeface="+mj-lt"/>
              <a:cs typeface="Calibri" pitchFamily="34" charset="0"/>
            </a:endParaRPr>
          </a:p>
        </p:txBody>
      </p:sp>
      <p:sp>
        <p:nvSpPr>
          <p:cNvPr id="29" name="Freeform 14">
            <a:extLst>
              <a:ext uri="{FF2B5EF4-FFF2-40B4-BE49-F238E27FC236}">
                <a16:creationId xmlns:a16="http://schemas.microsoft.com/office/drawing/2014/main" id="{D8F282DF-E0F4-7C96-6C17-72B7AD0CB26A}"/>
              </a:ext>
            </a:extLst>
          </p:cNvPr>
          <p:cNvSpPr/>
          <p:nvPr/>
        </p:nvSpPr>
        <p:spPr>
          <a:xfrm>
            <a:off x="785090" y="4818538"/>
            <a:ext cx="3713430" cy="381363"/>
          </a:xfrm>
          <a:custGeom>
            <a:avLst/>
            <a:gdLst>
              <a:gd name="connsiteX0" fmla="*/ 50946 w 2165847"/>
              <a:gd name="connsiteY0" fmla="*/ 0 h 305612"/>
              <a:gd name="connsiteX1" fmla="*/ 2114901 w 2165847"/>
              <a:gd name="connsiteY1" fmla="*/ 0 h 305612"/>
              <a:gd name="connsiteX2" fmla="*/ 2165847 w 2165847"/>
              <a:gd name="connsiteY2" fmla="*/ 50946 h 305612"/>
              <a:gd name="connsiteX3" fmla="*/ 2165847 w 2165847"/>
              <a:gd name="connsiteY3" fmla="*/ 305612 h 305612"/>
              <a:gd name="connsiteX4" fmla="*/ 2165847 w 2165847"/>
              <a:gd name="connsiteY4" fmla="*/ 305612 h 305612"/>
              <a:gd name="connsiteX5" fmla="*/ 0 w 2165847"/>
              <a:gd name="connsiteY5" fmla="*/ 305612 h 305612"/>
              <a:gd name="connsiteX6" fmla="*/ 0 w 2165847"/>
              <a:gd name="connsiteY6" fmla="*/ 305612 h 305612"/>
              <a:gd name="connsiteX7" fmla="*/ 0 w 2165847"/>
              <a:gd name="connsiteY7" fmla="*/ 50946 h 305612"/>
              <a:gd name="connsiteX8" fmla="*/ 50946 w 2165847"/>
              <a:gd name="connsiteY8" fmla="*/ 0 h 305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65847" h="305612">
                <a:moveTo>
                  <a:pt x="50946" y="0"/>
                </a:moveTo>
                <a:lnTo>
                  <a:pt x="2114901" y="0"/>
                </a:lnTo>
                <a:cubicBezTo>
                  <a:pt x="2143038" y="0"/>
                  <a:pt x="2165847" y="22809"/>
                  <a:pt x="2165847" y="50946"/>
                </a:cubicBezTo>
                <a:lnTo>
                  <a:pt x="2165847" y="305612"/>
                </a:lnTo>
                <a:lnTo>
                  <a:pt x="2165847" y="305612"/>
                </a:lnTo>
                <a:lnTo>
                  <a:pt x="0" y="305612"/>
                </a:lnTo>
                <a:lnTo>
                  <a:pt x="0" y="305612"/>
                </a:lnTo>
                <a:lnTo>
                  <a:pt x="0" y="50946"/>
                </a:lnTo>
                <a:cubicBezTo>
                  <a:pt x="0" y="22809"/>
                  <a:pt x="22809" y="0"/>
                  <a:pt x="50946" y="0"/>
                </a:cubicBez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6000"/>
              </a:lnSpc>
            </a:pPr>
            <a:r>
              <a:rPr lang="en-US" sz="1600" b="1" dirty="0">
                <a:solidFill>
                  <a:schemeClr val="bg1"/>
                </a:solidFill>
              </a:rPr>
              <a:t>Support Vector Machine</a:t>
            </a:r>
          </a:p>
        </p:txBody>
      </p:sp>
      <p:sp>
        <p:nvSpPr>
          <p:cNvPr id="30" name="Freeform 12">
            <a:extLst>
              <a:ext uri="{FF2B5EF4-FFF2-40B4-BE49-F238E27FC236}">
                <a16:creationId xmlns:a16="http://schemas.microsoft.com/office/drawing/2014/main" id="{837A9884-3A0B-A203-291C-15FF06D37E63}"/>
              </a:ext>
            </a:extLst>
          </p:cNvPr>
          <p:cNvSpPr/>
          <p:nvPr/>
        </p:nvSpPr>
        <p:spPr>
          <a:xfrm>
            <a:off x="785090" y="5394079"/>
            <a:ext cx="10366220" cy="908754"/>
          </a:xfrm>
          <a:custGeom>
            <a:avLst/>
            <a:gdLst>
              <a:gd name="connsiteX0" fmla="*/ 0 w 8330184"/>
              <a:gd name="connsiteY0" fmla="*/ 0 h 611317"/>
              <a:gd name="connsiteX1" fmla="*/ 8330184 w 8330184"/>
              <a:gd name="connsiteY1" fmla="*/ 0 h 611317"/>
              <a:gd name="connsiteX2" fmla="*/ 8330184 w 8330184"/>
              <a:gd name="connsiteY2" fmla="*/ 611317 h 611317"/>
              <a:gd name="connsiteX3" fmla="*/ 0 w 8330184"/>
              <a:gd name="connsiteY3" fmla="*/ 611317 h 611317"/>
              <a:gd name="connsiteX4" fmla="*/ 0 w 8330184"/>
              <a:gd name="connsiteY4" fmla="*/ 0 h 611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30184" h="611317">
                <a:moveTo>
                  <a:pt x="0" y="0"/>
                </a:moveTo>
                <a:lnTo>
                  <a:pt x="8330184" y="0"/>
                </a:lnTo>
                <a:lnTo>
                  <a:pt x="8330184" y="611317"/>
                </a:lnTo>
                <a:lnTo>
                  <a:pt x="0" y="611317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28571" tIns="28571" rIns="28571" bIns="28571" spcCol="1270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rgbClr val="000000"/>
                </a:solidFill>
              </a:rPr>
              <a:t>Rationale: </a:t>
            </a:r>
            <a:r>
              <a:rPr lang="en-US" sz="1600" dirty="0">
                <a:solidFill>
                  <a:srgbClr val="000000"/>
                </a:solidFill>
              </a:rPr>
              <a:t>High performance for text classification task, ability to handle non-linear relationships, versatility in kernel choices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rgbClr val="000000"/>
                </a:solidFill>
              </a:rPr>
              <a:t>Hyperparameters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b="1" dirty="0">
                <a:solidFill>
                  <a:srgbClr val="000000"/>
                </a:solidFill>
              </a:rPr>
              <a:t>Tested</a:t>
            </a:r>
            <a:r>
              <a:rPr lang="en-US" sz="1600" dirty="0">
                <a:solidFill>
                  <a:srgbClr val="000000"/>
                </a:solidFill>
              </a:rPr>
              <a:t>: C, kernel, degree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rgbClr val="000000"/>
                </a:solidFill>
              </a:rPr>
              <a:t>Precision Outcome</a:t>
            </a:r>
            <a:r>
              <a:rPr lang="en-US" sz="1600" dirty="0">
                <a:solidFill>
                  <a:srgbClr val="000000"/>
                </a:solidFill>
              </a:rPr>
              <a:t>: 91.95%</a:t>
            </a:r>
          </a:p>
        </p:txBody>
      </p:sp>
      <p:sp>
        <p:nvSpPr>
          <p:cNvPr id="8" name="Arrow: Chevron 7">
            <a:extLst>
              <a:ext uri="{FF2B5EF4-FFF2-40B4-BE49-F238E27FC236}">
                <a16:creationId xmlns:a16="http://schemas.microsoft.com/office/drawing/2014/main" id="{4DC08EB8-E37B-D12C-237A-B5DCDE304AFE}"/>
              </a:ext>
            </a:extLst>
          </p:cNvPr>
          <p:cNvSpPr/>
          <p:nvPr/>
        </p:nvSpPr>
        <p:spPr bwMode="gray">
          <a:xfrm>
            <a:off x="2874235" y="142882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0" name="Arrow: Chevron 9">
            <a:extLst>
              <a:ext uri="{FF2B5EF4-FFF2-40B4-BE49-F238E27FC236}">
                <a16:creationId xmlns:a16="http://schemas.microsoft.com/office/drawing/2014/main" id="{55399E87-33FB-F233-E25C-BE0DBA94CC32}"/>
              </a:ext>
            </a:extLst>
          </p:cNvPr>
          <p:cNvSpPr/>
          <p:nvPr/>
        </p:nvSpPr>
        <p:spPr bwMode="gray">
          <a:xfrm>
            <a:off x="3160725" y="137515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3" name="Arrow: Chevron 12">
            <a:extLst>
              <a:ext uri="{FF2B5EF4-FFF2-40B4-BE49-F238E27FC236}">
                <a16:creationId xmlns:a16="http://schemas.microsoft.com/office/drawing/2014/main" id="{D7E238CD-7508-9A17-AFB6-D8FC46E7AA36}"/>
              </a:ext>
            </a:extLst>
          </p:cNvPr>
          <p:cNvSpPr/>
          <p:nvPr/>
        </p:nvSpPr>
        <p:spPr bwMode="gray">
          <a:xfrm>
            <a:off x="3447878" y="139527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3568613924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3BC8A91-5A7A-43B0-9AEC-E8EFEC1F9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/>
          <a:lstStyle/>
          <a:p>
            <a:r>
              <a:rPr lang="en-US" sz="3200" b="1" spc="-75" dirty="0">
                <a:solidFill>
                  <a:srgbClr val="000000"/>
                </a:solidFill>
                <a:latin typeface="Chronicle Display Semi" pitchFamily="50" charset="0"/>
              </a:rPr>
              <a:t>Modeling, Tuning, and Testing (Cont’d)</a:t>
            </a:r>
            <a:endParaRPr lang="en-US" sz="1800" b="1" dirty="0">
              <a:latin typeface="Chronicle Display Semi"/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393DB15E-F8D9-40A0-9AAF-EF377C3FC491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61" name="object 3">
              <a:extLst>
                <a:ext uri="{FF2B5EF4-FFF2-40B4-BE49-F238E27FC236}">
                  <a16:creationId xmlns:a16="http://schemas.microsoft.com/office/drawing/2014/main" id="{B49A43F9-939C-43E8-865B-78D0135BEF71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object 2">
              <a:extLst>
                <a:ext uri="{FF2B5EF4-FFF2-40B4-BE49-F238E27FC236}">
                  <a16:creationId xmlns:a16="http://schemas.microsoft.com/office/drawing/2014/main" id="{F0F1692B-A57D-451B-9DB4-45437C658B69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1E42ECB3-692F-C92C-A2D8-FB261E84EB2D}"/>
              </a:ext>
            </a:extLst>
          </p:cNvPr>
          <p:cNvGrpSpPr/>
          <p:nvPr/>
        </p:nvGrpSpPr>
        <p:grpSpPr>
          <a:xfrm>
            <a:off x="11151310" y="309698"/>
            <a:ext cx="588089" cy="415058"/>
            <a:chOff x="7558088" y="2198688"/>
            <a:chExt cx="1189038" cy="766762"/>
          </a:xfrm>
          <a:solidFill>
            <a:schemeClr val="bg1"/>
          </a:solidFill>
        </p:grpSpPr>
        <p:sp>
          <p:nvSpPr>
            <p:cNvPr id="3" name="Freeform 224">
              <a:extLst>
                <a:ext uri="{FF2B5EF4-FFF2-40B4-BE49-F238E27FC236}">
                  <a16:creationId xmlns:a16="http://schemas.microsoft.com/office/drawing/2014/main" id="{C35B8DAB-0459-ABCE-3F2D-A932D0D5C8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2413" y="2393950"/>
              <a:ext cx="311150" cy="266700"/>
            </a:xfrm>
            <a:custGeom>
              <a:avLst/>
              <a:gdLst>
                <a:gd name="T0" fmla="*/ 53 w 133"/>
                <a:gd name="T1" fmla="*/ 0 h 114"/>
                <a:gd name="T2" fmla="*/ 0 w 133"/>
                <a:gd name="T3" fmla="*/ 53 h 114"/>
                <a:gd name="T4" fmla="*/ 0 w 133"/>
                <a:gd name="T5" fmla="*/ 98 h 114"/>
                <a:gd name="T6" fmla="*/ 4 w 133"/>
                <a:gd name="T7" fmla="*/ 103 h 114"/>
                <a:gd name="T8" fmla="*/ 18 w 133"/>
                <a:gd name="T9" fmla="*/ 114 h 114"/>
                <a:gd name="T10" fmla="*/ 23 w 133"/>
                <a:gd name="T11" fmla="*/ 90 h 114"/>
                <a:gd name="T12" fmla="*/ 23 w 133"/>
                <a:gd name="T13" fmla="*/ 53 h 114"/>
                <a:gd name="T14" fmla="*/ 53 w 133"/>
                <a:gd name="T15" fmla="*/ 23 h 114"/>
                <a:gd name="T16" fmla="*/ 133 w 133"/>
                <a:gd name="T17" fmla="*/ 23 h 114"/>
                <a:gd name="T18" fmla="*/ 121 w 133"/>
                <a:gd name="T19" fmla="*/ 0 h 114"/>
                <a:gd name="T20" fmla="*/ 53 w 133"/>
                <a:gd name="T21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3" h="114">
                  <a:moveTo>
                    <a:pt x="53" y="0"/>
                  </a:moveTo>
                  <a:cubicBezTo>
                    <a:pt x="23" y="0"/>
                    <a:pt x="0" y="23"/>
                    <a:pt x="0" y="53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" y="100"/>
                    <a:pt x="3" y="102"/>
                    <a:pt x="4" y="103"/>
                  </a:cubicBezTo>
                  <a:cubicBezTo>
                    <a:pt x="8" y="107"/>
                    <a:pt x="13" y="111"/>
                    <a:pt x="18" y="114"/>
                  </a:cubicBezTo>
                  <a:cubicBezTo>
                    <a:pt x="23" y="90"/>
                    <a:pt x="23" y="90"/>
                    <a:pt x="23" y="90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3" y="36"/>
                    <a:pt x="36" y="23"/>
                    <a:pt x="53" y="23"/>
                  </a:cubicBezTo>
                  <a:cubicBezTo>
                    <a:pt x="133" y="23"/>
                    <a:pt x="133" y="23"/>
                    <a:pt x="133" y="23"/>
                  </a:cubicBezTo>
                  <a:cubicBezTo>
                    <a:pt x="131" y="14"/>
                    <a:pt x="126" y="7"/>
                    <a:pt x="121" y="0"/>
                  </a:cubicBezTo>
                  <a:lnTo>
                    <a:pt x="5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5" name="Freeform 225">
              <a:extLst>
                <a:ext uri="{FF2B5EF4-FFF2-40B4-BE49-F238E27FC236}">
                  <a16:creationId xmlns:a16="http://schemas.microsoft.com/office/drawing/2014/main" id="{82EE0CF3-18A3-7CD1-5537-EAF588EFD1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970838" y="2508250"/>
              <a:ext cx="225425" cy="180975"/>
            </a:xfrm>
            <a:custGeom>
              <a:avLst/>
              <a:gdLst>
                <a:gd name="T0" fmla="*/ 73 w 96"/>
                <a:gd name="T1" fmla="*/ 54 h 77"/>
                <a:gd name="T2" fmla="*/ 96 w 96"/>
                <a:gd name="T3" fmla="*/ 1 h 77"/>
                <a:gd name="T4" fmla="*/ 70 w 96"/>
                <a:gd name="T5" fmla="*/ 1 h 77"/>
                <a:gd name="T6" fmla="*/ 6 w 96"/>
                <a:gd name="T7" fmla="*/ 45 h 77"/>
                <a:gd name="T8" fmla="*/ 0 w 96"/>
                <a:gd name="T9" fmla="*/ 75 h 77"/>
                <a:gd name="T10" fmla="*/ 17 w 96"/>
                <a:gd name="T11" fmla="*/ 77 h 77"/>
                <a:gd name="T12" fmla="*/ 73 w 96"/>
                <a:gd name="T13" fmla="*/ 5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77">
                  <a:moveTo>
                    <a:pt x="73" y="54"/>
                  </a:moveTo>
                  <a:cubicBezTo>
                    <a:pt x="87" y="40"/>
                    <a:pt x="95" y="21"/>
                    <a:pt x="96" y="1"/>
                  </a:cubicBezTo>
                  <a:cubicBezTo>
                    <a:pt x="82" y="1"/>
                    <a:pt x="70" y="1"/>
                    <a:pt x="70" y="1"/>
                  </a:cubicBezTo>
                  <a:cubicBezTo>
                    <a:pt x="40" y="0"/>
                    <a:pt x="11" y="20"/>
                    <a:pt x="6" y="4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6" y="76"/>
                    <a:pt x="11" y="77"/>
                    <a:pt x="17" y="77"/>
                  </a:cubicBezTo>
                  <a:cubicBezTo>
                    <a:pt x="38" y="77"/>
                    <a:pt x="58" y="69"/>
                    <a:pt x="73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6" name="Freeform 226">
              <a:extLst>
                <a:ext uri="{FF2B5EF4-FFF2-40B4-BE49-F238E27FC236}">
                  <a16:creationId xmlns:a16="http://schemas.microsoft.com/office/drawing/2014/main" id="{9BBEFD13-2A70-6B17-D9A3-01179347ABE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5013" y="2374900"/>
              <a:ext cx="290513" cy="77787"/>
            </a:xfrm>
            <a:custGeom>
              <a:avLst/>
              <a:gdLst>
                <a:gd name="T0" fmla="*/ 89 w 124"/>
                <a:gd name="T1" fmla="*/ 0 h 33"/>
                <a:gd name="T2" fmla="*/ 0 w 124"/>
                <a:gd name="T3" fmla="*/ 0 h 33"/>
                <a:gd name="T4" fmla="*/ 5 w 124"/>
                <a:gd name="T5" fmla="*/ 16 h 33"/>
                <a:gd name="T6" fmla="*/ 89 w 124"/>
                <a:gd name="T7" fmla="*/ 16 h 33"/>
                <a:gd name="T8" fmla="*/ 109 w 124"/>
                <a:gd name="T9" fmla="*/ 33 h 33"/>
                <a:gd name="T10" fmla="*/ 124 w 124"/>
                <a:gd name="T11" fmla="*/ 33 h 33"/>
                <a:gd name="T12" fmla="*/ 89 w 124"/>
                <a:gd name="T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33">
                  <a:moveTo>
                    <a:pt x="8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5"/>
                    <a:pt x="3" y="10"/>
                    <a:pt x="5" y="16"/>
                  </a:cubicBezTo>
                  <a:cubicBezTo>
                    <a:pt x="89" y="16"/>
                    <a:pt x="89" y="16"/>
                    <a:pt x="89" y="16"/>
                  </a:cubicBezTo>
                  <a:cubicBezTo>
                    <a:pt x="99" y="16"/>
                    <a:pt x="108" y="23"/>
                    <a:pt x="109" y="33"/>
                  </a:cubicBezTo>
                  <a:cubicBezTo>
                    <a:pt x="115" y="33"/>
                    <a:pt x="120" y="33"/>
                    <a:pt x="124" y="33"/>
                  </a:cubicBezTo>
                  <a:cubicBezTo>
                    <a:pt x="123" y="15"/>
                    <a:pt x="108" y="0"/>
                    <a:pt x="8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227">
              <a:extLst>
                <a:ext uri="{FF2B5EF4-FFF2-40B4-BE49-F238E27FC236}">
                  <a16:creationId xmlns:a16="http://schemas.microsoft.com/office/drawing/2014/main" id="{B10742B4-7938-44D8-7C15-4F533DAEFC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69238" y="2493963"/>
              <a:ext cx="877888" cy="458787"/>
            </a:xfrm>
            <a:custGeom>
              <a:avLst/>
              <a:gdLst>
                <a:gd name="T0" fmla="*/ 341 w 374"/>
                <a:gd name="T1" fmla="*/ 0 h 195"/>
                <a:gd name="T2" fmla="*/ 217 w 374"/>
                <a:gd name="T3" fmla="*/ 0 h 195"/>
                <a:gd name="T4" fmla="*/ 217 w 374"/>
                <a:gd name="T5" fmla="*/ 5 h 195"/>
                <a:gd name="T6" fmla="*/ 171 w 374"/>
                <a:gd name="T7" fmla="*/ 116 h 195"/>
                <a:gd name="T8" fmla="*/ 61 w 374"/>
                <a:gd name="T9" fmla="*/ 162 h 195"/>
                <a:gd name="T10" fmla="*/ 60 w 374"/>
                <a:gd name="T11" fmla="*/ 162 h 195"/>
                <a:gd name="T12" fmla="*/ 60 w 374"/>
                <a:gd name="T13" fmla="*/ 162 h 195"/>
                <a:gd name="T14" fmla="*/ 14 w 374"/>
                <a:gd name="T15" fmla="*/ 155 h 195"/>
                <a:gd name="T16" fmla="*/ 9 w 374"/>
                <a:gd name="T17" fmla="*/ 160 h 195"/>
                <a:gd name="T18" fmla="*/ 1 w 374"/>
                <a:gd name="T19" fmla="*/ 168 h 195"/>
                <a:gd name="T20" fmla="*/ 30 w 374"/>
                <a:gd name="T21" fmla="*/ 195 h 195"/>
                <a:gd name="T22" fmla="*/ 290 w 374"/>
                <a:gd name="T23" fmla="*/ 195 h 195"/>
                <a:gd name="T24" fmla="*/ 334 w 374"/>
                <a:gd name="T25" fmla="*/ 164 h 195"/>
                <a:gd name="T26" fmla="*/ 370 w 374"/>
                <a:gd name="T27" fmla="*/ 30 h 195"/>
                <a:gd name="T28" fmla="*/ 341 w 374"/>
                <a:gd name="T29" fmla="*/ 0 h 195"/>
                <a:gd name="T30" fmla="*/ 307 w 374"/>
                <a:gd name="T31" fmla="*/ 151 h 195"/>
                <a:gd name="T32" fmla="*/ 300 w 374"/>
                <a:gd name="T33" fmla="*/ 156 h 195"/>
                <a:gd name="T34" fmla="*/ 188 w 374"/>
                <a:gd name="T35" fmla="*/ 156 h 195"/>
                <a:gd name="T36" fmla="*/ 183 w 374"/>
                <a:gd name="T37" fmla="*/ 151 h 195"/>
                <a:gd name="T38" fmla="*/ 190 w 374"/>
                <a:gd name="T39" fmla="*/ 146 h 195"/>
                <a:gd name="T40" fmla="*/ 302 w 374"/>
                <a:gd name="T41" fmla="*/ 146 h 195"/>
                <a:gd name="T42" fmla="*/ 307 w 374"/>
                <a:gd name="T43" fmla="*/ 151 h 195"/>
                <a:gd name="T44" fmla="*/ 313 w 374"/>
                <a:gd name="T45" fmla="*/ 130 h 195"/>
                <a:gd name="T46" fmla="*/ 305 w 374"/>
                <a:gd name="T47" fmla="*/ 135 h 195"/>
                <a:gd name="T48" fmla="*/ 193 w 374"/>
                <a:gd name="T49" fmla="*/ 135 h 195"/>
                <a:gd name="T50" fmla="*/ 188 w 374"/>
                <a:gd name="T51" fmla="*/ 130 h 195"/>
                <a:gd name="T52" fmla="*/ 196 w 374"/>
                <a:gd name="T53" fmla="*/ 125 h 195"/>
                <a:gd name="T54" fmla="*/ 308 w 374"/>
                <a:gd name="T55" fmla="*/ 125 h 195"/>
                <a:gd name="T56" fmla="*/ 313 w 374"/>
                <a:gd name="T57" fmla="*/ 13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4" h="195">
                  <a:moveTo>
                    <a:pt x="341" y="0"/>
                  </a:moveTo>
                  <a:cubicBezTo>
                    <a:pt x="341" y="0"/>
                    <a:pt x="273" y="0"/>
                    <a:pt x="217" y="0"/>
                  </a:cubicBezTo>
                  <a:cubicBezTo>
                    <a:pt x="217" y="1"/>
                    <a:pt x="217" y="3"/>
                    <a:pt x="217" y="5"/>
                  </a:cubicBezTo>
                  <a:cubicBezTo>
                    <a:pt x="217" y="47"/>
                    <a:pt x="201" y="86"/>
                    <a:pt x="171" y="116"/>
                  </a:cubicBezTo>
                  <a:cubicBezTo>
                    <a:pt x="142" y="145"/>
                    <a:pt x="102" y="162"/>
                    <a:pt x="61" y="162"/>
                  </a:cubicBezTo>
                  <a:cubicBezTo>
                    <a:pt x="60" y="162"/>
                    <a:pt x="60" y="162"/>
                    <a:pt x="60" y="162"/>
                  </a:cubicBezTo>
                  <a:cubicBezTo>
                    <a:pt x="60" y="162"/>
                    <a:pt x="60" y="162"/>
                    <a:pt x="60" y="162"/>
                  </a:cubicBezTo>
                  <a:cubicBezTo>
                    <a:pt x="44" y="162"/>
                    <a:pt x="29" y="159"/>
                    <a:pt x="14" y="155"/>
                  </a:cubicBezTo>
                  <a:cubicBezTo>
                    <a:pt x="9" y="160"/>
                    <a:pt x="9" y="160"/>
                    <a:pt x="9" y="160"/>
                  </a:cubicBezTo>
                  <a:cubicBezTo>
                    <a:pt x="1" y="168"/>
                    <a:pt x="1" y="168"/>
                    <a:pt x="1" y="168"/>
                  </a:cubicBezTo>
                  <a:cubicBezTo>
                    <a:pt x="0" y="183"/>
                    <a:pt x="12" y="195"/>
                    <a:pt x="30" y="195"/>
                  </a:cubicBezTo>
                  <a:cubicBezTo>
                    <a:pt x="290" y="195"/>
                    <a:pt x="290" y="195"/>
                    <a:pt x="290" y="195"/>
                  </a:cubicBezTo>
                  <a:cubicBezTo>
                    <a:pt x="310" y="195"/>
                    <a:pt x="329" y="181"/>
                    <a:pt x="334" y="164"/>
                  </a:cubicBezTo>
                  <a:cubicBezTo>
                    <a:pt x="370" y="30"/>
                    <a:pt x="370" y="30"/>
                    <a:pt x="370" y="30"/>
                  </a:cubicBezTo>
                  <a:cubicBezTo>
                    <a:pt x="374" y="13"/>
                    <a:pt x="362" y="0"/>
                    <a:pt x="341" y="0"/>
                  </a:cubicBezTo>
                  <a:close/>
                  <a:moveTo>
                    <a:pt x="307" y="151"/>
                  </a:moveTo>
                  <a:cubicBezTo>
                    <a:pt x="306" y="154"/>
                    <a:pt x="303" y="156"/>
                    <a:pt x="300" y="156"/>
                  </a:cubicBezTo>
                  <a:cubicBezTo>
                    <a:pt x="188" y="156"/>
                    <a:pt x="188" y="156"/>
                    <a:pt x="188" y="156"/>
                  </a:cubicBezTo>
                  <a:cubicBezTo>
                    <a:pt x="185" y="156"/>
                    <a:pt x="182" y="154"/>
                    <a:pt x="183" y="151"/>
                  </a:cubicBezTo>
                  <a:cubicBezTo>
                    <a:pt x="184" y="148"/>
                    <a:pt x="187" y="146"/>
                    <a:pt x="190" y="146"/>
                  </a:cubicBezTo>
                  <a:cubicBezTo>
                    <a:pt x="302" y="146"/>
                    <a:pt x="302" y="146"/>
                    <a:pt x="302" y="146"/>
                  </a:cubicBezTo>
                  <a:cubicBezTo>
                    <a:pt x="306" y="146"/>
                    <a:pt x="308" y="148"/>
                    <a:pt x="307" y="151"/>
                  </a:cubicBezTo>
                  <a:close/>
                  <a:moveTo>
                    <a:pt x="313" y="130"/>
                  </a:moveTo>
                  <a:cubicBezTo>
                    <a:pt x="312" y="133"/>
                    <a:pt x="309" y="135"/>
                    <a:pt x="305" y="135"/>
                  </a:cubicBezTo>
                  <a:cubicBezTo>
                    <a:pt x="193" y="135"/>
                    <a:pt x="193" y="135"/>
                    <a:pt x="193" y="135"/>
                  </a:cubicBezTo>
                  <a:cubicBezTo>
                    <a:pt x="190" y="135"/>
                    <a:pt x="188" y="133"/>
                    <a:pt x="188" y="130"/>
                  </a:cubicBezTo>
                  <a:cubicBezTo>
                    <a:pt x="189" y="127"/>
                    <a:pt x="192" y="125"/>
                    <a:pt x="196" y="125"/>
                  </a:cubicBezTo>
                  <a:cubicBezTo>
                    <a:pt x="308" y="125"/>
                    <a:pt x="308" y="125"/>
                    <a:pt x="308" y="125"/>
                  </a:cubicBezTo>
                  <a:cubicBezTo>
                    <a:pt x="311" y="125"/>
                    <a:pt x="313" y="127"/>
                    <a:pt x="313" y="1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228">
              <a:extLst>
                <a:ext uri="{FF2B5EF4-FFF2-40B4-BE49-F238E27FC236}">
                  <a16:creationId xmlns:a16="http://schemas.microsoft.com/office/drawing/2014/main" id="{B0C83731-EDBB-5135-2483-A95719B6C0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58088" y="2198688"/>
              <a:ext cx="762000" cy="766762"/>
            </a:xfrm>
            <a:custGeom>
              <a:avLst/>
              <a:gdLst>
                <a:gd name="T0" fmla="*/ 85 w 325"/>
                <a:gd name="T1" fmla="*/ 240 h 327"/>
                <a:gd name="T2" fmla="*/ 85 w 325"/>
                <a:gd name="T3" fmla="*/ 240 h 327"/>
                <a:gd name="T4" fmla="*/ 58 w 325"/>
                <a:gd name="T5" fmla="*/ 204 h 327"/>
                <a:gd name="T6" fmla="*/ 27 w 325"/>
                <a:gd name="T7" fmla="*/ 235 h 327"/>
                <a:gd name="T8" fmla="*/ 16 w 325"/>
                <a:gd name="T9" fmla="*/ 246 h 327"/>
                <a:gd name="T10" fmla="*/ 16 w 325"/>
                <a:gd name="T11" fmla="*/ 306 h 327"/>
                <a:gd name="T12" fmla="*/ 21 w 325"/>
                <a:gd name="T13" fmla="*/ 311 h 327"/>
                <a:gd name="T14" fmla="*/ 81 w 325"/>
                <a:gd name="T15" fmla="*/ 311 h 327"/>
                <a:gd name="T16" fmla="*/ 92 w 325"/>
                <a:gd name="T17" fmla="*/ 300 h 327"/>
                <a:gd name="T18" fmla="*/ 124 w 325"/>
                <a:gd name="T19" fmla="*/ 268 h 327"/>
                <a:gd name="T20" fmla="*/ 85 w 325"/>
                <a:gd name="T21" fmla="*/ 240 h 327"/>
                <a:gd name="T22" fmla="*/ 286 w 325"/>
                <a:gd name="T23" fmla="*/ 38 h 327"/>
                <a:gd name="T24" fmla="*/ 193 w 325"/>
                <a:gd name="T25" fmla="*/ 0 h 327"/>
                <a:gd name="T26" fmla="*/ 101 w 325"/>
                <a:gd name="T27" fmla="*/ 38 h 327"/>
                <a:gd name="T28" fmla="*/ 62 w 325"/>
                <a:gd name="T29" fmla="*/ 131 h 327"/>
                <a:gd name="T30" fmla="*/ 101 w 325"/>
                <a:gd name="T31" fmla="*/ 224 h 327"/>
                <a:gd name="T32" fmla="*/ 193 w 325"/>
                <a:gd name="T33" fmla="*/ 262 h 327"/>
                <a:gd name="T34" fmla="*/ 286 w 325"/>
                <a:gd name="T35" fmla="*/ 224 h 327"/>
                <a:gd name="T36" fmla="*/ 325 w 325"/>
                <a:gd name="T37" fmla="*/ 131 h 327"/>
                <a:gd name="T38" fmla="*/ 286 w 325"/>
                <a:gd name="T39" fmla="*/ 38 h 327"/>
                <a:gd name="T40" fmla="*/ 267 w 325"/>
                <a:gd name="T41" fmla="*/ 204 h 327"/>
                <a:gd name="T42" fmla="*/ 193 w 325"/>
                <a:gd name="T43" fmla="*/ 235 h 327"/>
                <a:gd name="T44" fmla="*/ 120 w 325"/>
                <a:gd name="T45" fmla="*/ 204 h 327"/>
                <a:gd name="T46" fmla="*/ 90 w 325"/>
                <a:gd name="T47" fmla="*/ 131 h 327"/>
                <a:gd name="T48" fmla="*/ 120 w 325"/>
                <a:gd name="T49" fmla="*/ 58 h 327"/>
                <a:gd name="T50" fmla="*/ 193 w 325"/>
                <a:gd name="T51" fmla="*/ 27 h 327"/>
                <a:gd name="T52" fmla="*/ 267 w 325"/>
                <a:gd name="T53" fmla="*/ 58 h 327"/>
                <a:gd name="T54" fmla="*/ 297 w 325"/>
                <a:gd name="T55" fmla="*/ 131 h 327"/>
                <a:gd name="T56" fmla="*/ 267 w 325"/>
                <a:gd name="T57" fmla="*/ 204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25" h="327">
                  <a:moveTo>
                    <a:pt x="85" y="240"/>
                  </a:moveTo>
                  <a:cubicBezTo>
                    <a:pt x="85" y="240"/>
                    <a:pt x="85" y="240"/>
                    <a:pt x="85" y="240"/>
                  </a:cubicBezTo>
                  <a:cubicBezTo>
                    <a:pt x="74" y="229"/>
                    <a:pt x="65" y="217"/>
                    <a:pt x="58" y="204"/>
                  </a:cubicBezTo>
                  <a:cubicBezTo>
                    <a:pt x="27" y="235"/>
                    <a:pt x="27" y="235"/>
                    <a:pt x="27" y="235"/>
                  </a:cubicBezTo>
                  <a:cubicBezTo>
                    <a:pt x="16" y="246"/>
                    <a:pt x="16" y="246"/>
                    <a:pt x="16" y="246"/>
                  </a:cubicBezTo>
                  <a:cubicBezTo>
                    <a:pt x="0" y="263"/>
                    <a:pt x="0" y="290"/>
                    <a:pt x="16" y="306"/>
                  </a:cubicBezTo>
                  <a:cubicBezTo>
                    <a:pt x="21" y="311"/>
                    <a:pt x="21" y="311"/>
                    <a:pt x="21" y="311"/>
                  </a:cubicBezTo>
                  <a:cubicBezTo>
                    <a:pt x="38" y="327"/>
                    <a:pt x="64" y="327"/>
                    <a:pt x="81" y="311"/>
                  </a:cubicBezTo>
                  <a:cubicBezTo>
                    <a:pt x="92" y="300"/>
                    <a:pt x="92" y="300"/>
                    <a:pt x="92" y="300"/>
                  </a:cubicBezTo>
                  <a:cubicBezTo>
                    <a:pt x="124" y="268"/>
                    <a:pt x="124" y="268"/>
                    <a:pt x="124" y="268"/>
                  </a:cubicBezTo>
                  <a:cubicBezTo>
                    <a:pt x="109" y="261"/>
                    <a:pt x="96" y="251"/>
                    <a:pt x="85" y="240"/>
                  </a:cubicBezTo>
                  <a:close/>
                  <a:moveTo>
                    <a:pt x="286" y="38"/>
                  </a:moveTo>
                  <a:cubicBezTo>
                    <a:pt x="261" y="13"/>
                    <a:pt x="227" y="0"/>
                    <a:pt x="193" y="0"/>
                  </a:cubicBezTo>
                  <a:cubicBezTo>
                    <a:pt x="160" y="0"/>
                    <a:pt x="126" y="13"/>
                    <a:pt x="101" y="38"/>
                  </a:cubicBezTo>
                  <a:cubicBezTo>
                    <a:pt x="75" y="64"/>
                    <a:pt x="62" y="97"/>
                    <a:pt x="62" y="131"/>
                  </a:cubicBezTo>
                  <a:cubicBezTo>
                    <a:pt x="62" y="165"/>
                    <a:pt x="75" y="198"/>
                    <a:pt x="101" y="224"/>
                  </a:cubicBezTo>
                  <a:cubicBezTo>
                    <a:pt x="126" y="250"/>
                    <a:pt x="160" y="262"/>
                    <a:pt x="193" y="262"/>
                  </a:cubicBezTo>
                  <a:cubicBezTo>
                    <a:pt x="227" y="262"/>
                    <a:pt x="261" y="250"/>
                    <a:pt x="286" y="224"/>
                  </a:cubicBezTo>
                  <a:cubicBezTo>
                    <a:pt x="312" y="198"/>
                    <a:pt x="325" y="165"/>
                    <a:pt x="325" y="131"/>
                  </a:cubicBezTo>
                  <a:cubicBezTo>
                    <a:pt x="325" y="97"/>
                    <a:pt x="312" y="64"/>
                    <a:pt x="286" y="38"/>
                  </a:cubicBezTo>
                  <a:close/>
                  <a:moveTo>
                    <a:pt x="267" y="204"/>
                  </a:moveTo>
                  <a:cubicBezTo>
                    <a:pt x="246" y="224"/>
                    <a:pt x="220" y="235"/>
                    <a:pt x="193" y="235"/>
                  </a:cubicBezTo>
                  <a:cubicBezTo>
                    <a:pt x="167" y="235"/>
                    <a:pt x="141" y="224"/>
                    <a:pt x="120" y="204"/>
                  </a:cubicBezTo>
                  <a:cubicBezTo>
                    <a:pt x="100" y="184"/>
                    <a:pt x="90" y="158"/>
                    <a:pt x="90" y="131"/>
                  </a:cubicBezTo>
                  <a:cubicBezTo>
                    <a:pt x="90" y="104"/>
                    <a:pt x="100" y="78"/>
                    <a:pt x="120" y="58"/>
                  </a:cubicBezTo>
                  <a:cubicBezTo>
                    <a:pt x="141" y="38"/>
                    <a:pt x="167" y="28"/>
                    <a:pt x="193" y="27"/>
                  </a:cubicBezTo>
                  <a:cubicBezTo>
                    <a:pt x="220" y="28"/>
                    <a:pt x="246" y="38"/>
                    <a:pt x="267" y="58"/>
                  </a:cubicBezTo>
                  <a:cubicBezTo>
                    <a:pt x="287" y="78"/>
                    <a:pt x="297" y="104"/>
                    <a:pt x="297" y="131"/>
                  </a:cubicBezTo>
                  <a:cubicBezTo>
                    <a:pt x="297" y="158"/>
                    <a:pt x="287" y="184"/>
                    <a:pt x="267" y="2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9" name="Straight Connector 8">
            <a:extLst>
              <a:ext uri="{FF2B5EF4-FFF2-40B4-BE49-F238E27FC236}">
                <a16:creationId xmlns:a16="http://schemas.microsoft.com/office/drawing/2014/main" id="{4E603DF8-09E0-4461-AD30-F4124AB45125}"/>
              </a:ext>
            </a:extLst>
          </p:cNvPr>
          <p:cNvSpPr/>
          <p:nvPr/>
        </p:nvSpPr>
        <p:spPr>
          <a:xfrm flipV="1">
            <a:off x="785090" y="3311528"/>
            <a:ext cx="10150764" cy="952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0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12" name="Straight Connector 11">
            <a:extLst>
              <a:ext uri="{FF2B5EF4-FFF2-40B4-BE49-F238E27FC236}">
                <a16:creationId xmlns:a16="http://schemas.microsoft.com/office/drawing/2014/main" id="{C48F4A9D-AC4D-7BBA-0A84-B79A6A08269C}"/>
              </a:ext>
            </a:extLst>
          </p:cNvPr>
          <p:cNvSpPr/>
          <p:nvPr/>
        </p:nvSpPr>
        <p:spPr>
          <a:xfrm>
            <a:off x="785089" y="1454058"/>
            <a:ext cx="1015076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0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17" name="Freeform 11">
            <a:extLst>
              <a:ext uri="{FF2B5EF4-FFF2-40B4-BE49-F238E27FC236}">
                <a16:creationId xmlns:a16="http://schemas.microsoft.com/office/drawing/2014/main" id="{CFFC42EB-463F-A551-CA3D-61CF8A292F67}"/>
              </a:ext>
            </a:extLst>
          </p:cNvPr>
          <p:cNvSpPr/>
          <p:nvPr/>
        </p:nvSpPr>
        <p:spPr>
          <a:xfrm>
            <a:off x="785089" y="1067368"/>
            <a:ext cx="3713431" cy="384048"/>
          </a:xfrm>
          <a:custGeom>
            <a:avLst/>
            <a:gdLst>
              <a:gd name="connsiteX0" fmla="*/ 50946 w 2165847"/>
              <a:gd name="connsiteY0" fmla="*/ 0 h 305612"/>
              <a:gd name="connsiteX1" fmla="*/ 2114901 w 2165847"/>
              <a:gd name="connsiteY1" fmla="*/ 0 h 305612"/>
              <a:gd name="connsiteX2" fmla="*/ 2165847 w 2165847"/>
              <a:gd name="connsiteY2" fmla="*/ 50946 h 305612"/>
              <a:gd name="connsiteX3" fmla="*/ 2165847 w 2165847"/>
              <a:gd name="connsiteY3" fmla="*/ 305612 h 305612"/>
              <a:gd name="connsiteX4" fmla="*/ 2165847 w 2165847"/>
              <a:gd name="connsiteY4" fmla="*/ 305612 h 305612"/>
              <a:gd name="connsiteX5" fmla="*/ 0 w 2165847"/>
              <a:gd name="connsiteY5" fmla="*/ 305612 h 305612"/>
              <a:gd name="connsiteX6" fmla="*/ 0 w 2165847"/>
              <a:gd name="connsiteY6" fmla="*/ 305612 h 305612"/>
              <a:gd name="connsiteX7" fmla="*/ 0 w 2165847"/>
              <a:gd name="connsiteY7" fmla="*/ 50946 h 305612"/>
              <a:gd name="connsiteX8" fmla="*/ 50946 w 2165847"/>
              <a:gd name="connsiteY8" fmla="*/ 0 h 305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65847" h="305612">
                <a:moveTo>
                  <a:pt x="50946" y="0"/>
                </a:moveTo>
                <a:lnTo>
                  <a:pt x="2114901" y="0"/>
                </a:lnTo>
                <a:cubicBezTo>
                  <a:pt x="2143038" y="0"/>
                  <a:pt x="2165847" y="22809"/>
                  <a:pt x="2165847" y="50946"/>
                </a:cubicBezTo>
                <a:lnTo>
                  <a:pt x="2165847" y="305612"/>
                </a:lnTo>
                <a:lnTo>
                  <a:pt x="2165847" y="305612"/>
                </a:lnTo>
                <a:lnTo>
                  <a:pt x="0" y="305612"/>
                </a:lnTo>
                <a:lnTo>
                  <a:pt x="0" y="305612"/>
                </a:lnTo>
                <a:lnTo>
                  <a:pt x="0" y="50946"/>
                </a:lnTo>
                <a:cubicBezTo>
                  <a:pt x="0" y="22809"/>
                  <a:pt x="22809" y="0"/>
                  <a:pt x="50946" y="0"/>
                </a:cubicBezTo>
                <a:close/>
              </a:path>
            </a:pathLst>
          </a:cu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6000"/>
              </a:lnSpc>
            </a:pPr>
            <a:r>
              <a:rPr lang="en-US" sz="1600" b="1" dirty="0">
                <a:solidFill>
                  <a:schemeClr val="bg1"/>
                </a:solidFill>
              </a:rPr>
              <a:t>Random Forest</a:t>
            </a:r>
          </a:p>
        </p:txBody>
      </p:sp>
      <p:sp>
        <p:nvSpPr>
          <p:cNvPr id="18" name="Freeform 12">
            <a:extLst>
              <a:ext uri="{FF2B5EF4-FFF2-40B4-BE49-F238E27FC236}">
                <a16:creationId xmlns:a16="http://schemas.microsoft.com/office/drawing/2014/main" id="{37D0F910-9BD9-8E0B-58B2-3FE9235FC039}"/>
              </a:ext>
            </a:extLst>
          </p:cNvPr>
          <p:cNvSpPr/>
          <p:nvPr/>
        </p:nvSpPr>
        <p:spPr>
          <a:xfrm>
            <a:off x="785090" y="1608045"/>
            <a:ext cx="10366220" cy="611188"/>
          </a:xfrm>
          <a:custGeom>
            <a:avLst/>
            <a:gdLst>
              <a:gd name="connsiteX0" fmla="*/ 0 w 8330184"/>
              <a:gd name="connsiteY0" fmla="*/ 0 h 611317"/>
              <a:gd name="connsiteX1" fmla="*/ 8330184 w 8330184"/>
              <a:gd name="connsiteY1" fmla="*/ 0 h 611317"/>
              <a:gd name="connsiteX2" fmla="*/ 8330184 w 8330184"/>
              <a:gd name="connsiteY2" fmla="*/ 611317 h 611317"/>
              <a:gd name="connsiteX3" fmla="*/ 0 w 8330184"/>
              <a:gd name="connsiteY3" fmla="*/ 611317 h 611317"/>
              <a:gd name="connsiteX4" fmla="*/ 0 w 8330184"/>
              <a:gd name="connsiteY4" fmla="*/ 0 h 611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30184" h="611317">
                <a:moveTo>
                  <a:pt x="0" y="0"/>
                </a:moveTo>
                <a:lnTo>
                  <a:pt x="8330184" y="0"/>
                </a:lnTo>
                <a:lnTo>
                  <a:pt x="8330184" y="611317"/>
                </a:lnTo>
                <a:lnTo>
                  <a:pt x="0" y="611317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28571" tIns="28571" rIns="28571" bIns="28571" spcCol="1270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rgbClr val="000000"/>
                </a:solidFill>
              </a:rPr>
              <a:t>Rationale: </a:t>
            </a:r>
            <a:r>
              <a:rPr lang="en-US" sz="1600" dirty="0">
                <a:solidFill>
                  <a:srgbClr val="000000"/>
                </a:solidFill>
              </a:rPr>
              <a:t>Reduce overfitting, performance with textual data, capture of feature </a:t>
            </a:r>
            <a:r>
              <a:rPr lang="en-US" sz="1600" dirty="0" err="1">
                <a:solidFill>
                  <a:srgbClr val="000000"/>
                </a:solidFill>
              </a:rPr>
              <a:t>importances</a:t>
            </a:r>
            <a:r>
              <a:rPr lang="en-US" sz="1600" dirty="0">
                <a:solidFill>
                  <a:srgbClr val="000000"/>
                </a:solidFill>
              </a:rPr>
              <a:t> to aid interpretability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rgbClr val="000000"/>
                </a:solidFill>
              </a:rPr>
              <a:t>Hyperparameters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b="1" dirty="0">
                <a:solidFill>
                  <a:srgbClr val="000000"/>
                </a:solidFill>
              </a:rPr>
              <a:t>Tested</a:t>
            </a:r>
            <a:r>
              <a:rPr lang="en-US" sz="1600" dirty="0">
                <a:solidFill>
                  <a:srgbClr val="000000"/>
                </a:solidFill>
              </a:rPr>
              <a:t>: </a:t>
            </a:r>
            <a:r>
              <a:rPr lang="en-US" sz="1600" dirty="0" err="1">
                <a:solidFill>
                  <a:srgbClr val="000000"/>
                </a:solidFill>
              </a:rPr>
              <a:t>N_estimators</a:t>
            </a:r>
            <a:r>
              <a:rPr lang="en-US" sz="1600" dirty="0">
                <a:solidFill>
                  <a:srgbClr val="000000"/>
                </a:solidFill>
              </a:rPr>
              <a:t>, </a:t>
            </a:r>
            <a:r>
              <a:rPr lang="en-US" sz="1600" dirty="0" err="1">
                <a:solidFill>
                  <a:srgbClr val="000000"/>
                </a:solidFill>
              </a:rPr>
              <a:t>max_depth</a:t>
            </a:r>
            <a:endParaRPr lang="en-US" sz="1600" dirty="0">
              <a:solidFill>
                <a:srgbClr val="000000"/>
              </a:solidFill>
            </a:endParaRP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rgbClr val="000000"/>
                </a:solidFill>
              </a:rPr>
              <a:t>Precision Outcome</a:t>
            </a:r>
            <a:r>
              <a:rPr lang="en-US" sz="1600" dirty="0">
                <a:solidFill>
                  <a:srgbClr val="000000"/>
                </a:solidFill>
              </a:rPr>
              <a:t>: Accuracy not high enough, did not continue to calculating precision</a:t>
            </a:r>
          </a:p>
        </p:txBody>
      </p:sp>
      <p:sp>
        <p:nvSpPr>
          <p:cNvPr id="20" name="Freeform 14">
            <a:extLst>
              <a:ext uri="{FF2B5EF4-FFF2-40B4-BE49-F238E27FC236}">
                <a16:creationId xmlns:a16="http://schemas.microsoft.com/office/drawing/2014/main" id="{4F5261B7-AD90-9773-E2B6-DF3E991FF18D}"/>
              </a:ext>
            </a:extLst>
          </p:cNvPr>
          <p:cNvSpPr/>
          <p:nvPr/>
        </p:nvSpPr>
        <p:spPr>
          <a:xfrm>
            <a:off x="785090" y="2930165"/>
            <a:ext cx="3713430" cy="381363"/>
          </a:xfrm>
          <a:custGeom>
            <a:avLst/>
            <a:gdLst>
              <a:gd name="connsiteX0" fmla="*/ 50946 w 2165847"/>
              <a:gd name="connsiteY0" fmla="*/ 0 h 305612"/>
              <a:gd name="connsiteX1" fmla="*/ 2114901 w 2165847"/>
              <a:gd name="connsiteY1" fmla="*/ 0 h 305612"/>
              <a:gd name="connsiteX2" fmla="*/ 2165847 w 2165847"/>
              <a:gd name="connsiteY2" fmla="*/ 50946 h 305612"/>
              <a:gd name="connsiteX3" fmla="*/ 2165847 w 2165847"/>
              <a:gd name="connsiteY3" fmla="*/ 305612 h 305612"/>
              <a:gd name="connsiteX4" fmla="*/ 2165847 w 2165847"/>
              <a:gd name="connsiteY4" fmla="*/ 305612 h 305612"/>
              <a:gd name="connsiteX5" fmla="*/ 0 w 2165847"/>
              <a:gd name="connsiteY5" fmla="*/ 305612 h 305612"/>
              <a:gd name="connsiteX6" fmla="*/ 0 w 2165847"/>
              <a:gd name="connsiteY6" fmla="*/ 305612 h 305612"/>
              <a:gd name="connsiteX7" fmla="*/ 0 w 2165847"/>
              <a:gd name="connsiteY7" fmla="*/ 50946 h 305612"/>
              <a:gd name="connsiteX8" fmla="*/ 50946 w 2165847"/>
              <a:gd name="connsiteY8" fmla="*/ 0 h 305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65847" h="305612">
                <a:moveTo>
                  <a:pt x="50946" y="0"/>
                </a:moveTo>
                <a:lnTo>
                  <a:pt x="2114901" y="0"/>
                </a:lnTo>
                <a:cubicBezTo>
                  <a:pt x="2143038" y="0"/>
                  <a:pt x="2165847" y="22809"/>
                  <a:pt x="2165847" y="50946"/>
                </a:cubicBezTo>
                <a:lnTo>
                  <a:pt x="2165847" y="305612"/>
                </a:lnTo>
                <a:lnTo>
                  <a:pt x="2165847" y="305612"/>
                </a:lnTo>
                <a:lnTo>
                  <a:pt x="0" y="305612"/>
                </a:lnTo>
                <a:lnTo>
                  <a:pt x="0" y="305612"/>
                </a:lnTo>
                <a:lnTo>
                  <a:pt x="0" y="50946"/>
                </a:lnTo>
                <a:cubicBezTo>
                  <a:pt x="0" y="22809"/>
                  <a:pt x="22809" y="0"/>
                  <a:pt x="50946" y="0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6000"/>
              </a:lnSpc>
            </a:pPr>
            <a:r>
              <a:rPr lang="en-US" sz="1600" b="1" dirty="0">
                <a:solidFill>
                  <a:schemeClr val="bg1"/>
                </a:solidFill>
              </a:rPr>
              <a:t>Extra Trees</a:t>
            </a:r>
          </a:p>
        </p:txBody>
      </p:sp>
      <p:sp>
        <p:nvSpPr>
          <p:cNvPr id="21" name="Freeform 12">
            <a:extLst>
              <a:ext uri="{FF2B5EF4-FFF2-40B4-BE49-F238E27FC236}">
                <a16:creationId xmlns:a16="http://schemas.microsoft.com/office/drawing/2014/main" id="{317197D9-1558-F9F7-25D0-FAFA658FE604}"/>
              </a:ext>
            </a:extLst>
          </p:cNvPr>
          <p:cNvSpPr/>
          <p:nvPr/>
        </p:nvSpPr>
        <p:spPr>
          <a:xfrm>
            <a:off x="785090" y="3505706"/>
            <a:ext cx="10366220" cy="836340"/>
          </a:xfrm>
          <a:custGeom>
            <a:avLst/>
            <a:gdLst>
              <a:gd name="connsiteX0" fmla="*/ 0 w 8330184"/>
              <a:gd name="connsiteY0" fmla="*/ 0 h 611317"/>
              <a:gd name="connsiteX1" fmla="*/ 8330184 w 8330184"/>
              <a:gd name="connsiteY1" fmla="*/ 0 h 611317"/>
              <a:gd name="connsiteX2" fmla="*/ 8330184 w 8330184"/>
              <a:gd name="connsiteY2" fmla="*/ 611317 h 611317"/>
              <a:gd name="connsiteX3" fmla="*/ 0 w 8330184"/>
              <a:gd name="connsiteY3" fmla="*/ 611317 h 611317"/>
              <a:gd name="connsiteX4" fmla="*/ 0 w 8330184"/>
              <a:gd name="connsiteY4" fmla="*/ 0 h 611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30184" h="611317">
                <a:moveTo>
                  <a:pt x="0" y="0"/>
                </a:moveTo>
                <a:lnTo>
                  <a:pt x="8330184" y="0"/>
                </a:lnTo>
                <a:lnTo>
                  <a:pt x="8330184" y="611317"/>
                </a:lnTo>
                <a:lnTo>
                  <a:pt x="0" y="611317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28571" tIns="28571" rIns="28571" bIns="28571" spcCol="1270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rgbClr val="000000"/>
                </a:solidFill>
              </a:rPr>
              <a:t>Rationale: </a:t>
            </a:r>
            <a:r>
              <a:rPr lang="en-US" sz="1600" dirty="0">
                <a:solidFill>
                  <a:srgbClr val="000000"/>
                </a:solidFill>
              </a:rPr>
              <a:t>Reduce overfitting, extra randomness to further reduce variance, performance with textual data, capture of feature </a:t>
            </a:r>
            <a:r>
              <a:rPr lang="en-US" sz="1600" dirty="0" err="1">
                <a:solidFill>
                  <a:srgbClr val="000000"/>
                </a:solidFill>
              </a:rPr>
              <a:t>importances</a:t>
            </a:r>
            <a:r>
              <a:rPr lang="en-US" sz="1600" dirty="0">
                <a:solidFill>
                  <a:srgbClr val="000000"/>
                </a:solidFill>
              </a:rPr>
              <a:t>, computational efficiency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rgbClr val="000000"/>
                </a:solidFill>
              </a:rPr>
              <a:t>Hyperparameters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b="1" dirty="0">
                <a:solidFill>
                  <a:srgbClr val="000000"/>
                </a:solidFill>
              </a:rPr>
              <a:t>Tested</a:t>
            </a:r>
            <a:r>
              <a:rPr lang="en-US" sz="1600" dirty="0">
                <a:solidFill>
                  <a:srgbClr val="000000"/>
                </a:solidFill>
              </a:rPr>
              <a:t>: </a:t>
            </a:r>
            <a:r>
              <a:rPr lang="en-US" sz="1600" dirty="0" err="1">
                <a:solidFill>
                  <a:srgbClr val="000000"/>
                </a:solidFill>
              </a:rPr>
              <a:t>N_estimators</a:t>
            </a:r>
            <a:r>
              <a:rPr lang="en-US" sz="1600" dirty="0">
                <a:solidFill>
                  <a:srgbClr val="000000"/>
                </a:solidFill>
              </a:rPr>
              <a:t>, </a:t>
            </a:r>
            <a:r>
              <a:rPr lang="en-US" sz="1600" dirty="0" err="1">
                <a:solidFill>
                  <a:srgbClr val="000000"/>
                </a:solidFill>
              </a:rPr>
              <a:t>max_depth</a:t>
            </a:r>
            <a:endParaRPr lang="en-US" sz="1600" dirty="0">
              <a:solidFill>
                <a:srgbClr val="000000"/>
              </a:solidFill>
            </a:endParaRP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rgbClr val="000000"/>
                </a:solidFill>
              </a:rPr>
              <a:t>Precision Outcome</a:t>
            </a:r>
            <a:r>
              <a:rPr lang="en-US" sz="1600" dirty="0">
                <a:solidFill>
                  <a:srgbClr val="000000"/>
                </a:solidFill>
              </a:rPr>
              <a:t>: Accuracy not high enough, did not continue to calculating precision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15A743CC-D89D-F692-EE25-23D4491EBC86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787878">
                    <a:lumMod val="60000"/>
                    <a:lumOff val="40000"/>
                  </a:srgbClr>
                </a:solidFill>
                <a:latin typeface="Open Sans"/>
              </a:rPr>
              <a:t>Methodology and analysis</a:t>
            </a:r>
            <a:endParaRPr kumimoji="0" lang="en-US" sz="900" b="1" i="0" u="none" strike="noStrike" kern="0" cap="all" spc="250" normalizeH="0" baseline="0" noProof="0" dirty="0">
              <a:ln>
                <a:noFill/>
              </a:ln>
              <a:solidFill>
                <a:srgbClr val="787878">
                  <a:lumMod val="60000"/>
                  <a:lumOff val="40000"/>
                </a:srgbClr>
              </a:solidFill>
              <a:effectLst/>
              <a:uLnTx/>
              <a:uFillTx/>
              <a:latin typeface="Open Sans"/>
            </a:endParaRPr>
          </a:p>
        </p:txBody>
      </p:sp>
      <p:sp>
        <p:nvSpPr>
          <p:cNvPr id="22" name="Straight Connector 21">
            <a:extLst>
              <a:ext uri="{FF2B5EF4-FFF2-40B4-BE49-F238E27FC236}">
                <a16:creationId xmlns:a16="http://schemas.microsoft.com/office/drawing/2014/main" id="{30FE66B3-E4F8-492F-C3F6-0B4271E4649D}"/>
              </a:ext>
            </a:extLst>
          </p:cNvPr>
          <p:cNvSpPr/>
          <p:nvPr/>
        </p:nvSpPr>
        <p:spPr>
          <a:xfrm flipV="1">
            <a:off x="785090" y="5199901"/>
            <a:ext cx="10150764" cy="9525"/>
          </a:xfrm>
          <a:prstGeom prst="line">
            <a:avLst/>
          </a:prstGeom>
          <a:ln>
            <a:solidFill>
              <a:srgbClr val="DA291C">
                <a:alpha val="63000"/>
              </a:srgbClr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0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29" name="Freeform 14">
            <a:extLst>
              <a:ext uri="{FF2B5EF4-FFF2-40B4-BE49-F238E27FC236}">
                <a16:creationId xmlns:a16="http://schemas.microsoft.com/office/drawing/2014/main" id="{D8F282DF-E0F4-7C96-6C17-72B7AD0CB26A}"/>
              </a:ext>
            </a:extLst>
          </p:cNvPr>
          <p:cNvSpPr/>
          <p:nvPr/>
        </p:nvSpPr>
        <p:spPr>
          <a:xfrm>
            <a:off x="785090" y="4818538"/>
            <a:ext cx="3713430" cy="381363"/>
          </a:xfrm>
          <a:custGeom>
            <a:avLst/>
            <a:gdLst>
              <a:gd name="connsiteX0" fmla="*/ 50946 w 2165847"/>
              <a:gd name="connsiteY0" fmla="*/ 0 h 305612"/>
              <a:gd name="connsiteX1" fmla="*/ 2114901 w 2165847"/>
              <a:gd name="connsiteY1" fmla="*/ 0 h 305612"/>
              <a:gd name="connsiteX2" fmla="*/ 2165847 w 2165847"/>
              <a:gd name="connsiteY2" fmla="*/ 50946 h 305612"/>
              <a:gd name="connsiteX3" fmla="*/ 2165847 w 2165847"/>
              <a:gd name="connsiteY3" fmla="*/ 305612 h 305612"/>
              <a:gd name="connsiteX4" fmla="*/ 2165847 w 2165847"/>
              <a:gd name="connsiteY4" fmla="*/ 305612 h 305612"/>
              <a:gd name="connsiteX5" fmla="*/ 0 w 2165847"/>
              <a:gd name="connsiteY5" fmla="*/ 305612 h 305612"/>
              <a:gd name="connsiteX6" fmla="*/ 0 w 2165847"/>
              <a:gd name="connsiteY6" fmla="*/ 305612 h 305612"/>
              <a:gd name="connsiteX7" fmla="*/ 0 w 2165847"/>
              <a:gd name="connsiteY7" fmla="*/ 50946 h 305612"/>
              <a:gd name="connsiteX8" fmla="*/ 50946 w 2165847"/>
              <a:gd name="connsiteY8" fmla="*/ 0 h 305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65847" h="305612">
                <a:moveTo>
                  <a:pt x="50946" y="0"/>
                </a:moveTo>
                <a:lnTo>
                  <a:pt x="2114901" y="0"/>
                </a:lnTo>
                <a:cubicBezTo>
                  <a:pt x="2143038" y="0"/>
                  <a:pt x="2165847" y="22809"/>
                  <a:pt x="2165847" y="50946"/>
                </a:cubicBezTo>
                <a:lnTo>
                  <a:pt x="2165847" y="305612"/>
                </a:lnTo>
                <a:lnTo>
                  <a:pt x="2165847" y="305612"/>
                </a:lnTo>
                <a:lnTo>
                  <a:pt x="0" y="305612"/>
                </a:lnTo>
                <a:lnTo>
                  <a:pt x="0" y="305612"/>
                </a:lnTo>
                <a:lnTo>
                  <a:pt x="0" y="50946"/>
                </a:lnTo>
                <a:cubicBezTo>
                  <a:pt x="0" y="22809"/>
                  <a:pt x="22809" y="0"/>
                  <a:pt x="50946" y="0"/>
                </a:cubicBezTo>
                <a:close/>
              </a:path>
            </a:pathLst>
          </a:custGeom>
          <a:solidFill>
            <a:srgbClr val="C00000">
              <a:alpha val="59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6000"/>
              </a:lnSpc>
            </a:pPr>
            <a:r>
              <a:rPr lang="en-US" sz="1600" b="1" dirty="0" err="1">
                <a:solidFill>
                  <a:schemeClr val="bg1"/>
                </a:solidFill>
              </a:rPr>
              <a:t>Ensembling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0" name="Freeform 12">
            <a:extLst>
              <a:ext uri="{FF2B5EF4-FFF2-40B4-BE49-F238E27FC236}">
                <a16:creationId xmlns:a16="http://schemas.microsoft.com/office/drawing/2014/main" id="{837A9884-3A0B-A203-291C-15FF06D37E63}"/>
              </a:ext>
            </a:extLst>
          </p:cNvPr>
          <p:cNvSpPr/>
          <p:nvPr/>
        </p:nvSpPr>
        <p:spPr>
          <a:xfrm>
            <a:off x="785090" y="5394079"/>
            <a:ext cx="10366220" cy="908754"/>
          </a:xfrm>
          <a:custGeom>
            <a:avLst/>
            <a:gdLst>
              <a:gd name="connsiteX0" fmla="*/ 0 w 8330184"/>
              <a:gd name="connsiteY0" fmla="*/ 0 h 611317"/>
              <a:gd name="connsiteX1" fmla="*/ 8330184 w 8330184"/>
              <a:gd name="connsiteY1" fmla="*/ 0 h 611317"/>
              <a:gd name="connsiteX2" fmla="*/ 8330184 w 8330184"/>
              <a:gd name="connsiteY2" fmla="*/ 611317 h 611317"/>
              <a:gd name="connsiteX3" fmla="*/ 0 w 8330184"/>
              <a:gd name="connsiteY3" fmla="*/ 611317 h 611317"/>
              <a:gd name="connsiteX4" fmla="*/ 0 w 8330184"/>
              <a:gd name="connsiteY4" fmla="*/ 0 h 611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30184" h="611317">
                <a:moveTo>
                  <a:pt x="0" y="0"/>
                </a:moveTo>
                <a:lnTo>
                  <a:pt x="8330184" y="0"/>
                </a:lnTo>
                <a:lnTo>
                  <a:pt x="8330184" y="611317"/>
                </a:lnTo>
                <a:lnTo>
                  <a:pt x="0" y="611317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28571" tIns="28571" rIns="28571" bIns="28571" spcCol="1270"/>
          <a:lstStyle>
            <a:defPPr>
              <a:defRPr lang="en-US"/>
            </a:defPPr>
            <a:lvl1pPr marL="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4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29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440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58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733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2879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026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172" algn="l" defTabSz="914293" rtl="0" eaLnBrk="1" latinLnBrk="0" hangingPunct="1">
              <a:defRPr sz="1800" kern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rgbClr val="000000"/>
                </a:solidFill>
              </a:rPr>
              <a:t>Rationale: </a:t>
            </a:r>
            <a:r>
              <a:rPr lang="en-US" sz="1600" dirty="0">
                <a:solidFill>
                  <a:srgbClr val="000000"/>
                </a:solidFill>
              </a:rPr>
              <a:t>Wisdom of the Crowds, improving accuracy by reducing individual model bias, increase robustness by removing outliers and noise, 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rgbClr val="000000"/>
                </a:solidFill>
              </a:rPr>
              <a:t>Hyperparameters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b="1" dirty="0">
                <a:solidFill>
                  <a:srgbClr val="000000"/>
                </a:solidFill>
              </a:rPr>
              <a:t>Tested</a:t>
            </a:r>
            <a:r>
              <a:rPr lang="en-US" sz="1600" dirty="0">
                <a:solidFill>
                  <a:srgbClr val="000000"/>
                </a:solidFill>
              </a:rPr>
              <a:t>: All that were tested during individual model run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rgbClr val="000000"/>
                </a:solidFill>
              </a:rPr>
              <a:t>Precision Outcome</a:t>
            </a:r>
            <a:r>
              <a:rPr lang="en-US" sz="1600" dirty="0">
                <a:solidFill>
                  <a:srgbClr val="000000"/>
                </a:solidFill>
              </a:rPr>
              <a:t>: Accuracy not high enough, did not continue to calculating precision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36" name="Arrow: Chevron 35">
            <a:extLst>
              <a:ext uri="{FF2B5EF4-FFF2-40B4-BE49-F238E27FC236}">
                <a16:creationId xmlns:a16="http://schemas.microsoft.com/office/drawing/2014/main" id="{24B5A9B7-0AEA-B443-0F48-A6B4A7AA5AF4}"/>
              </a:ext>
            </a:extLst>
          </p:cNvPr>
          <p:cNvSpPr/>
          <p:nvPr/>
        </p:nvSpPr>
        <p:spPr bwMode="gray">
          <a:xfrm>
            <a:off x="2874235" y="142882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37" name="Arrow: Chevron 36">
            <a:extLst>
              <a:ext uri="{FF2B5EF4-FFF2-40B4-BE49-F238E27FC236}">
                <a16:creationId xmlns:a16="http://schemas.microsoft.com/office/drawing/2014/main" id="{CC3FA4BF-6F40-3942-C43C-F7BCFC9612FF}"/>
              </a:ext>
            </a:extLst>
          </p:cNvPr>
          <p:cNvSpPr/>
          <p:nvPr/>
        </p:nvSpPr>
        <p:spPr bwMode="gray">
          <a:xfrm>
            <a:off x="3160725" y="137515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38" name="Arrow: Chevron 37">
            <a:extLst>
              <a:ext uri="{FF2B5EF4-FFF2-40B4-BE49-F238E27FC236}">
                <a16:creationId xmlns:a16="http://schemas.microsoft.com/office/drawing/2014/main" id="{5BA5850B-26E5-DAAC-F8F7-422BBEDF1517}"/>
              </a:ext>
            </a:extLst>
          </p:cNvPr>
          <p:cNvSpPr/>
          <p:nvPr/>
        </p:nvSpPr>
        <p:spPr bwMode="gray">
          <a:xfrm>
            <a:off x="3447878" y="139527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39" name="Arrow: Chevron 38">
            <a:extLst>
              <a:ext uri="{FF2B5EF4-FFF2-40B4-BE49-F238E27FC236}">
                <a16:creationId xmlns:a16="http://schemas.microsoft.com/office/drawing/2014/main" id="{136CD114-2750-F428-E50A-32B9786DA05C}"/>
              </a:ext>
            </a:extLst>
          </p:cNvPr>
          <p:cNvSpPr/>
          <p:nvPr/>
        </p:nvSpPr>
        <p:spPr bwMode="gray">
          <a:xfrm>
            <a:off x="3730976" y="144964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40" name="Arrow: Chevron 39">
            <a:extLst>
              <a:ext uri="{FF2B5EF4-FFF2-40B4-BE49-F238E27FC236}">
                <a16:creationId xmlns:a16="http://schemas.microsoft.com/office/drawing/2014/main" id="{124AB281-1C6E-35BC-3999-B0DC35346517}"/>
              </a:ext>
            </a:extLst>
          </p:cNvPr>
          <p:cNvSpPr/>
          <p:nvPr/>
        </p:nvSpPr>
        <p:spPr bwMode="gray">
          <a:xfrm>
            <a:off x="4017466" y="139597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41" name="Arrow: Chevron 40">
            <a:extLst>
              <a:ext uri="{FF2B5EF4-FFF2-40B4-BE49-F238E27FC236}">
                <a16:creationId xmlns:a16="http://schemas.microsoft.com/office/drawing/2014/main" id="{6D0B4452-C440-4E1F-97E9-790FFAEAF641}"/>
              </a:ext>
            </a:extLst>
          </p:cNvPr>
          <p:cNvSpPr/>
          <p:nvPr/>
        </p:nvSpPr>
        <p:spPr bwMode="gray">
          <a:xfrm>
            <a:off x="4304619" y="141609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1746928685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E800489A-F27D-A60D-63C2-C646B753BE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1165" y="1281422"/>
            <a:ext cx="9279549" cy="4450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3BC8A91-5A7A-43B0-9AEC-E8EFEC1F9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/>
          <a:lstStyle/>
          <a:p>
            <a:r>
              <a:rPr lang="en-US" sz="3200" b="1" spc="-75" dirty="0">
                <a:solidFill>
                  <a:srgbClr val="000000"/>
                </a:solidFill>
                <a:latin typeface="Chronicle Display Semi" pitchFamily="50" charset="0"/>
              </a:rPr>
              <a:t>Modeling Accuracy and Final Model Selection</a:t>
            </a:r>
            <a:endParaRPr lang="en-US" sz="1800" b="1" dirty="0">
              <a:latin typeface="Chronicle Display Semi"/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393DB15E-F8D9-40A0-9AAF-EF377C3FC491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61" name="object 3">
              <a:extLst>
                <a:ext uri="{FF2B5EF4-FFF2-40B4-BE49-F238E27FC236}">
                  <a16:creationId xmlns:a16="http://schemas.microsoft.com/office/drawing/2014/main" id="{B49A43F9-939C-43E8-865B-78D0135BEF71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object 2">
              <a:extLst>
                <a:ext uri="{FF2B5EF4-FFF2-40B4-BE49-F238E27FC236}">
                  <a16:creationId xmlns:a16="http://schemas.microsoft.com/office/drawing/2014/main" id="{F0F1692B-A57D-451B-9DB4-45437C658B69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1E42ECB3-692F-C92C-A2D8-FB261E84EB2D}"/>
              </a:ext>
            </a:extLst>
          </p:cNvPr>
          <p:cNvGrpSpPr/>
          <p:nvPr/>
        </p:nvGrpSpPr>
        <p:grpSpPr>
          <a:xfrm>
            <a:off x="11151310" y="309698"/>
            <a:ext cx="588089" cy="415058"/>
            <a:chOff x="7558088" y="2198688"/>
            <a:chExt cx="1189038" cy="766762"/>
          </a:xfrm>
          <a:solidFill>
            <a:schemeClr val="bg1"/>
          </a:solidFill>
        </p:grpSpPr>
        <p:sp>
          <p:nvSpPr>
            <p:cNvPr id="3" name="Freeform 224">
              <a:extLst>
                <a:ext uri="{FF2B5EF4-FFF2-40B4-BE49-F238E27FC236}">
                  <a16:creationId xmlns:a16="http://schemas.microsoft.com/office/drawing/2014/main" id="{C35B8DAB-0459-ABCE-3F2D-A932D0D5C8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2413" y="2393950"/>
              <a:ext cx="311150" cy="266700"/>
            </a:xfrm>
            <a:custGeom>
              <a:avLst/>
              <a:gdLst>
                <a:gd name="T0" fmla="*/ 53 w 133"/>
                <a:gd name="T1" fmla="*/ 0 h 114"/>
                <a:gd name="T2" fmla="*/ 0 w 133"/>
                <a:gd name="T3" fmla="*/ 53 h 114"/>
                <a:gd name="T4" fmla="*/ 0 w 133"/>
                <a:gd name="T5" fmla="*/ 98 h 114"/>
                <a:gd name="T6" fmla="*/ 4 w 133"/>
                <a:gd name="T7" fmla="*/ 103 h 114"/>
                <a:gd name="T8" fmla="*/ 18 w 133"/>
                <a:gd name="T9" fmla="*/ 114 h 114"/>
                <a:gd name="T10" fmla="*/ 23 w 133"/>
                <a:gd name="T11" fmla="*/ 90 h 114"/>
                <a:gd name="T12" fmla="*/ 23 w 133"/>
                <a:gd name="T13" fmla="*/ 53 h 114"/>
                <a:gd name="T14" fmla="*/ 53 w 133"/>
                <a:gd name="T15" fmla="*/ 23 h 114"/>
                <a:gd name="T16" fmla="*/ 133 w 133"/>
                <a:gd name="T17" fmla="*/ 23 h 114"/>
                <a:gd name="T18" fmla="*/ 121 w 133"/>
                <a:gd name="T19" fmla="*/ 0 h 114"/>
                <a:gd name="T20" fmla="*/ 53 w 133"/>
                <a:gd name="T21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3" h="114">
                  <a:moveTo>
                    <a:pt x="53" y="0"/>
                  </a:moveTo>
                  <a:cubicBezTo>
                    <a:pt x="23" y="0"/>
                    <a:pt x="0" y="23"/>
                    <a:pt x="0" y="53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" y="100"/>
                    <a:pt x="3" y="102"/>
                    <a:pt x="4" y="103"/>
                  </a:cubicBezTo>
                  <a:cubicBezTo>
                    <a:pt x="8" y="107"/>
                    <a:pt x="13" y="111"/>
                    <a:pt x="18" y="114"/>
                  </a:cubicBezTo>
                  <a:cubicBezTo>
                    <a:pt x="23" y="90"/>
                    <a:pt x="23" y="90"/>
                    <a:pt x="23" y="90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3" y="36"/>
                    <a:pt x="36" y="23"/>
                    <a:pt x="53" y="23"/>
                  </a:cubicBezTo>
                  <a:cubicBezTo>
                    <a:pt x="133" y="23"/>
                    <a:pt x="133" y="23"/>
                    <a:pt x="133" y="23"/>
                  </a:cubicBezTo>
                  <a:cubicBezTo>
                    <a:pt x="131" y="14"/>
                    <a:pt x="126" y="7"/>
                    <a:pt x="121" y="0"/>
                  </a:cubicBezTo>
                  <a:lnTo>
                    <a:pt x="5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5" name="Freeform 225">
              <a:extLst>
                <a:ext uri="{FF2B5EF4-FFF2-40B4-BE49-F238E27FC236}">
                  <a16:creationId xmlns:a16="http://schemas.microsoft.com/office/drawing/2014/main" id="{82EE0CF3-18A3-7CD1-5537-EAF588EFD1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970838" y="2508250"/>
              <a:ext cx="225425" cy="180975"/>
            </a:xfrm>
            <a:custGeom>
              <a:avLst/>
              <a:gdLst>
                <a:gd name="T0" fmla="*/ 73 w 96"/>
                <a:gd name="T1" fmla="*/ 54 h 77"/>
                <a:gd name="T2" fmla="*/ 96 w 96"/>
                <a:gd name="T3" fmla="*/ 1 h 77"/>
                <a:gd name="T4" fmla="*/ 70 w 96"/>
                <a:gd name="T5" fmla="*/ 1 h 77"/>
                <a:gd name="T6" fmla="*/ 6 w 96"/>
                <a:gd name="T7" fmla="*/ 45 h 77"/>
                <a:gd name="T8" fmla="*/ 0 w 96"/>
                <a:gd name="T9" fmla="*/ 75 h 77"/>
                <a:gd name="T10" fmla="*/ 17 w 96"/>
                <a:gd name="T11" fmla="*/ 77 h 77"/>
                <a:gd name="T12" fmla="*/ 73 w 96"/>
                <a:gd name="T13" fmla="*/ 5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77">
                  <a:moveTo>
                    <a:pt x="73" y="54"/>
                  </a:moveTo>
                  <a:cubicBezTo>
                    <a:pt x="87" y="40"/>
                    <a:pt x="95" y="21"/>
                    <a:pt x="96" y="1"/>
                  </a:cubicBezTo>
                  <a:cubicBezTo>
                    <a:pt x="82" y="1"/>
                    <a:pt x="70" y="1"/>
                    <a:pt x="70" y="1"/>
                  </a:cubicBezTo>
                  <a:cubicBezTo>
                    <a:pt x="40" y="0"/>
                    <a:pt x="11" y="20"/>
                    <a:pt x="6" y="4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6" y="76"/>
                    <a:pt x="11" y="77"/>
                    <a:pt x="17" y="77"/>
                  </a:cubicBezTo>
                  <a:cubicBezTo>
                    <a:pt x="38" y="77"/>
                    <a:pt x="58" y="69"/>
                    <a:pt x="73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6" name="Freeform 226">
              <a:extLst>
                <a:ext uri="{FF2B5EF4-FFF2-40B4-BE49-F238E27FC236}">
                  <a16:creationId xmlns:a16="http://schemas.microsoft.com/office/drawing/2014/main" id="{9BBEFD13-2A70-6B17-D9A3-01179347ABE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5013" y="2374900"/>
              <a:ext cx="290513" cy="77787"/>
            </a:xfrm>
            <a:custGeom>
              <a:avLst/>
              <a:gdLst>
                <a:gd name="T0" fmla="*/ 89 w 124"/>
                <a:gd name="T1" fmla="*/ 0 h 33"/>
                <a:gd name="T2" fmla="*/ 0 w 124"/>
                <a:gd name="T3" fmla="*/ 0 h 33"/>
                <a:gd name="T4" fmla="*/ 5 w 124"/>
                <a:gd name="T5" fmla="*/ 16 h 33"/>
                <a:gd name="T6" fmla="*/ 89 w 124"/>
                <a:gd name="T7" fmla="*/ 16 h 33"/>
                <a:gd name="T8" fmla="*/ 109 w 124"/>
                <a:gd name="T9" fmla="*/ 33 h 33"/>
                <a:gd name="T10" fmla="*/ 124 w 124"/>
                <a:gd name="T11" fmla="*/ 33 h 33"/>
                <a:gd name="T12" fmla="*/ 89 w 124"/>
                <a:gd name="T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33">
                  <a:moveTo>
                    <a:pt x="8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5"/>
                    <a:pt x="3" y="10"/>
                    <a:pt x="5" y="16"/>
                  </a:cubicBezTo>
                  <a:cubicBezTo>
                    <a:pt x="89" y="16"/>
                    <a:pt x="89" y="16"/>
                    <a:pt x="89" y="16"/>
                  </a:cubicBezTo>
                  <a:cubicBezTo>
                    <a:pt x="99" y="16"/>
                    <a:pt x="108" y="23"/>
                    <a:pt x="109" y="33"/>
                  </a:cubicBezTo>
                  <a:cubicBezTo>
                    <a:pt x="115" y="33"/>
                    <a:pt x="120" y="33"/>
                    <a:pt x="124" y="33"/>
                  </a:cubicBezTo>
                  <a:cubicBezTo>
                    <a:pt x="123" y="15"/>
                    <a:pt x="108" y="0"/>
                    <a:pt x="8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227">
              <a:extLst>
                <a:ext uri="{FF2B5EF4-FFF2-40B4-BE49-F238E27FC236}">
                  <a16:creationId xmlns:a16="http://schemas.microsoft.com/office/drawing/2014/main" id="{B10742B4-7938-44D8-7C15-4F533DAEFC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69238" y="2493963"/>
              <a:ext cx="877888" cy="458787"/>
            </a:xfrm>
            <a:custGeom>
              <a:avLst/>
              <a:gdLst>
                <a:gd name="T0" fmla="*/ 341 w 374"/>
                <a:gd name="T1" fmla="*/ 0 h 195"/>
                <a:gd name="T2" fmla="*/ 217 w 374"/>
                <a:gd name="T3" fmla="*/ 0 h 195"/>
                <a:gd name="T4" fmla="*/ 217 w 374"/>
                <a:gd name="T5" fmla="*/ 5 h 195"/>
                <a:gd name="T6" fmla="*/ 171 w 374"/>
                <a:gd name="T7" fmla="*/ 116 h 195"/>
                <a:gd name="T8" fmla="*/ 61 w 374"/>
                <a:gd name="T9" fmla="*/ 162 h 195"/>
                <a:gd name="T10" fmla="*/ 60 w 374"/>
                <a:gd name="T11" fmla="*/ 162 h 195"/>
                <a:gd name="T12" fmla="*/ 60 w 374"/>
                <a:gd name="T13" fmla="*/ 162 h 195"/>
                <a:gd name="T14" fmla="*/ 14 w 374"/>
                <a:gd name="T15" fmla="*/ 155 h 195"/>
                <a:gd name="T16" fmla="*/ 9 w 374"/>
                <a:gd name="T17" fmla="*/ 160 h 195"/>
                <a:gd name="T18" fmla="*/ 1 w 374"/>
                <a:gd name="T19" fmla="*/ 168 h 195"/>
                <a:gd name="T20" fmla="*/ 30 w 374"/>
                <a:gd name="T21" fmla="*/ 195 h 195"/>
                <a:gd name="T22" fmla="*/ 290 w 374"/>
                <a:gd name="T23" fmla="*/ 195 h 195"/>
                <a:gd name="T24" fmla="*/ 334 w 374"/>
                <a:gd name="T25" fmla="*/ 164 h 195"/>
                <a:gd name="T26" fmla="*/ 370 w 374"/>
                <a:gd name="T27" fmla="*/ 30 h 195"/>
                <a:gd name="T28" fmla="*/ 341 w 374"/>
                <a:gd name="T29" fmla="*/ 0 h 195"/>
                <a:gd name="T30" fmla="*/ 307 w 374"/>
                <a:gd name="T31" fmla="*/ 151 h 195"/>
                <a:gd name="T32" fmla="*/ 300 w 374"/>
                <a:gd name="T33" fmla="*/ 156 h 195"/>
                <a:gd name="T34" fmla="*/ 188 w 374"/>
                <a:gd name="T35" fmla="*/ 156 h 195"/>
                <a:gd name="T36" fmla="*/ 183 w 374"/>
                <a:gd name="T37" fmla="*/ 151 h 195"/>
                <a:gd name="T38" fmla="*/ 190 w 374"/>
                <a:gd name="T39" fmla="*/ 146 h 195"/>
                <a:gd name="T40" fmla="*/ 302 w 374"/>
                <a:gd name="T41" fmla="*/ 146 h 195"/>
                <a:gd name="T42" fmla="*/ 307 w 374"/>
                <a:gd name="T43" fmla="*/ 151 h 195"/>
                <a:gd name="T44" fmla="*/ 313 w 374"/>
                <a:gd name="T45" fmla="*/ 130 h 195"/>
                <a:gd name="T46" fmla="*/ 305 w 374"/>
                <a:gd name="T47" fmla="*/ 135 h 195"/>
                <a:gd name="T48" fmla="*/ 193 w 374"/>
                <a:gd name="T49" fmla="*/ 135 h 195"/>
                <a:gd name="T50" fmla="*/ 188 w 374"/>
                <a:gd name="T51" fmla="*/ 130 h 195"/>
                <a:gd name="T52" fmla="*/ 196 w 374"/>
                <a:gd name="T53" fmla="*/ 125 h 195"/>
                <a:gd name="T54" fmla="*/ 308 w 374"/>
                <a:gd name="T55" fmla="*/ 125 h 195"/>
                <a:gd name="T56" fmla="*/ 313 w 374"/>
                <a:gd name="T57" fmla="*/ 13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4" h="195">
                  <a:moveTo>
                    <a:pt x="341" y="0"/>
                  </a:moveTo>
                  <a:cubicBezTo>
                    <a:pt x="341" y="0"/>
                    <a:pt x="273" y="0"/>
                    <a:pt x="217" y="0"/>
                  </a:cubicBezTo>
                  <a:cubicBezTo>
                    <a:pt x="217" y="1"/>
                    <a:pt x="217" y="3"/>
                    <a:pt x="217" y="5"/>
                  </a:cubicBezTo>
                  <a:cubicBezTo>
                    <a:pt x="217" y="47"/>
                    <a:pt x="201" y="86"/>
                    <a:pt x="171" y="116"/>
                  </a:cubicBezTo>
                  <a:cubicBezTo>
                    <a:pt x="142" y="145"/>
                    <a:pt x="102" y="162"/>
                    <a:pt x="61" y="162"/>
                  </a:cubicBezTo>
                  <a:cubicBezTo>
                    <a:pt x="60" y="162"/>
                    <a:pt x="60" y="162"/>
                    <a:pt x="60" y="162"/>
                  </a:cubicBezTo>
                  <a:cubicBezTo>
                    <a:pt x="60" y="162"/>
                    <a:pt x="60" y="162"/>
                    <a:pt x="60" y="162"/>
                  </a:cubicBezTo>
                  <a:cubicBezTo>
                    <a:pt x="44" y="162"/>
                    <a:pt x="29" y="159"/>
                    <a:pt x="14" y="155"/>
                  </a:cubicBezTo>
                  <a:cubicBezTo>
                    <a:pt x="9" y="160"/>
                    <a:pt x="9" y="160"/>
                    <a:pt x="9" y="160"/>
                  </a:cubicBezTo>
                  <a:cubicBezTo>
                    <a:pt x="1" y="168"/>
                    <a:pt x="1" y="168"/>
                    <a:pt x="1" y="168"/>
                  </a:cubicBezTo>
                  <a:cubicBezTo>
                    <a:pt x="0" y="183"/>
                    <a:pt x="12" y="195"/>
                    <a:pt x="30" y="195"/>
                  </a:cubicBezTo>
                  <a:cubicBezTo>
                    <a:pt x="290" y="195"/>
                    <a:pt x="290" y="195"/>
                    <a:pt x="290" y="195"/>
                  </a:cubicBezTo>
                  <a:cubicBezTo>
                    <a:pt x="310" y="195"/>
                    <a:pt x="329" y="181"/>
                    <a:pt x="334" y="164"/>
                  </a:cubicBezTo>
                  <a:cubicBezTo>
                    <a:pt x="370" y="30"/>
                    <a:pt x="370" y="30"/>
                    <a:pt x="370" y="30"/>
                  </a:cubicBezTo>
                  <a:cubicBezTo>
                    <a:pt x="374" y="13"/>
                    <a:pt x="362" y="0"/>
                    <a:pt x="341" y="0"/>
                  </a:cubicBezTo>
                  <a:close/>
                  <a:moveTo>
                    <a:pt x="307" y="151"/>
                  </a:moveTo>
                  <a:cubicBezTo>
                    <a:pt x="306" y="154"/>
                    <a:pt x="303" y="156"/>
                    <a:pt x="300" y="156"/>
                  </a:cubicBezTo>
                  <a:cubicBezTo>
                    <a:pt x="188" y="156"/>
                    <a:pt x="188" y="156"/>
                    <a:pt x="188" y="156"/>
                  </a:cubicBezTo>
                  <a:cubicBezTo>
                    <a:pt x="185" y="156"/>
                    <a:pt x="182" y="154"/>
                    <a:pt x="183" y="151"/>
                  </a:cubicBezTo>
                  <a:cubicBezTo>
                    <a:pt x="184" y="148"/>
                    <a:pt x="187" y="146"/>
                    <a:pt x="190" y="146"/>
                  </a:cubicBezTo>
                  <a:cubicBezTo>
                    <a:pt x="302" y="146"/>
                    <a:pt x="302" y="146"/>
                    <a:pt x="302" y="146"/>
                  </a:cubicBezTo>
                  <a:cubicBezTo>
                    <a:pt x="306" y="146"/>
                    <a:pt x="308" y="148"/>
                    <a:pt x="307" y="151"/>
                  </a:cubicBezTo>
                  <a:close/>
                  <a:moveTo>
                    <a:pt x="313" y="130"/>
                  </a:moveTo>
                  <a:cubicBezTo>
                    <a:pt x="312" y="133"/>
                    <a:pt x="309" y="135"/>
                    <a:pt x="305" y="135"/>
                  </a:cubicBezTo>
                  <a:cubicBezTo>
                    <a:pt x="193" y="135"/>
                    <a:pt x="193" y="135"/>
                    <a:pt x="193" y="135"/>
                  </a:cubicBezTo>
                  <a:cubicBezTo>
                    <a:pt x="190" y="135"/>
                    <a:pt x="188" y="133"/>
                    <a:pt x="188" y="130"/>
                  </a:cubicBezTo>
                  <a:cubicBezTo>
                    <a:pt x="189" y="127"/>
                    <a:pt x="192" y="125"/>
                    <a:pt x="196" y="125"/>
                  </a:cubicBezTo>
                  <a:cubicBezTo>
                    <a:pt x="308" y="125"/>
                    <a:pt x="308" y="125"/>
                    <a:pt x="308" y="125"/>
                  </a:cubicBezTo>
                  <a:cubicBezTo>
                    <a:pt x="311" y="125"/>
                    <a:pt x="313" y="127"/>
                    <a:pt x="313" y="1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228">
              <a:extLst>
                <a:ext uri="{FF2B5EF4-FFF2-40B4-BE49-F238E27FC236}">
                  <a16:creationId xmlns:a16="http://schemas.microsoft.com/office/drawing/2014/main" id="{B0C83731-EDBB-5135-2483-A95719B6C0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58088" y="2198688"/>
              <a:ext cx="762000" cy="766762"/>
            </a:xfrm>
            <a:custGeom>
              <a:avLst/>
              <a:gdLst>
                <a:gd name="T0" fmla="*/ 85 w 325"/>
                <a:gd name="T1" fmla="*/ 240 h 327"/>
                <a:gd name="T2" fmla="*/ 85 w 325"/>
                <a:gd name="T3" fmla="*/ 240 h 327"/>
                <a:gd name="T4" fmla="*/ 58 w 325"/>
                <a:gd name="T5" fmla="*/ 204 h 327"/>
                <a:gd name="T6" fmla="*/ 27 w 325"/>
                <a:gd name="T7" fmla="*/ 235 h 327"/>
                <a:gd name="T8" fmla="*/ 16 w 325"/>
                <a:gd name="T9" fmla="*/ 246 h 327"/>
                <a:gd name="T10" fmla="*/ 16 w 325"/>
                <a:gd name="T11" fmla="*/ 306 h 327"/>
                <a:gd name="T12" fmla="*/ 21 w 325"/>
                <a:gd name="T13" fmla="*/ 311 h 327"/>
                <a:gd name="T14" fmla="*/ 81 w 325"/>
                <a:gd name="T15" fmla="*/ 311 h 327"/>
                <a:gd name="T16" fmla="*/ 92 w 325"/>
                <a:gd name="T17" fmla="*/ 300 h 327"/>
                <a:gd name="T18" fmla="*/ 124 w 325"/>
                <a:gd name="T19" fmla="*/ 268 h 327"/>
                <a:gd name="T20" fmla="*/ 85 w 325"/>
                <a:gd name="T21" fmla="*/ 240 h 327"/>
                <a:gd name="T22" fmla="*/ 286 w 325"/>
                <a:gd name="T23" fmla="*/ 38 h 327"/>
                <a:gd name="T24" fmla="*/ 193 w 325"/>
                <a:gd name="T25" fmla="*/ 0 h 327"/>
                <a:gd name="T26" fmla="*/ 101 w 325"/>
                <a:gd name="T27" fmla="*/ 38 h 327"/>
                <a:gd name="T28" fmla="*/ 62 w 325"/>
                <a:gd name="T29" fmla="*/ 131 h 327"/>
                <a:gd name="T30" fmla="*/ 101 w 325"/>
                <a:gd name="T31" fmla="*/ 224 h 327"/>
                <a:gd name="T32" fmla="*/ 193 w 325"/>
                <a:gd name="T33" fmla="*/ 262 h 327"/>
                <a:gd name="T34" fmla="*/ 286 w 325"/>
                <a:gd name="T35" fmla="*/ 224 h 327"/>
                <a:gd name="T36" fmla="*/ 325 w 325"/>
                <a:gd name="T37" fmla="*/ 131 h 327"/>
                <a:gd name="T38" fmla="*/ 286 w 325"/>
                <a:gd name="T39" fmla="*/ 38 h 327"/>
                <a:gd name="T40" fmla="*/ 267 w 325"/>
                <a:gd name="T41" fmla="*/ 204 h 327"/>
                <a:gd name="T42" fmla="*/ 193 w 325"/>
                <a:gd name="T43" fmla="*/ 235 h 327"/>
                <a:gd name="T44" fmla="*/ 120 w 325"/>
                <a:gd name="T45" fmla="*/ 204 h 327"/>
                <a:gd name="T46" fmla="*/ 90 w 325"/>
                <a:gd name="T47" fmla="*/ 131 h 327"/>
                <a:gd name="T48" fmla="*/ 120 w 325"/>
                <a:gd name="T49" fmla="*/ 58 h 327"/>
                <a:gd name="T50" fmla="*/ 193 w 325"/>
                <a:gd name="T51" fmla="*/ 27 h 327"/>
                <a:gd name="T52" fmla="*/ 267 w 325"/>
                <a:gd name="T53" fmla="*/ 58 h 327"/>
                <a:gd name="T54" fmla="*/ 297 w 325"/>
                <a:gd name="T55" fmla="*/ 131 h 327"/>
                <a:gd name="T56" fmla="*/ 267 w 325"/>
                <a:gd name="T57" fmla="*/ 204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25" h="327">
                  <a:moveTo>
                    <a:pt x="85" y="240"/>
                  </a:moveTo>
                  <a:cubicBezTo>
                    <a:pt x="85" y="240"/>
                    <a:pt x="85" y="240"/>
                    <a:pt x="85" y="240"/>
                  </a:cubicBezTo>
                  <a:cubicBezTo>
                    <a:pt x="74" y="229"/>
                    <a:pt x="65" y="217"/>
                    <a:pt x="58" y="204"/>
                  </a:cubicBezTo>
                  <a:cubicBezTo>
                    <a:pt x="27" y="235"/>
                    <a:pt x="27" y="235"/>
                    <a:pt x="27" y="235"/>
                  </a:cubicBezTo>
                  <a:cubicBezTo>
                    <a:pt x="16" y="246"/>
                    <a:pt x="16" y="246"/>
                    <a:pt x="16" y="246"/>
                  </a:cubicBezTo>
                  <a:cubicBezTo>
                    <a:pt x="0" y="263"/>
                    <a:pt x="0" y="290"/>
                    <a:pt x="16" y="306"/>
                  </a:cubicBezTo>
                  <a:cubicBezTo>
                    <a:pt x="21" y="311"/>
                    <a:pt x="21" y="311"/>
                    <a:pt x="21" y="311"/>
                  </a:cubicBezTo>
                  <a:cubicBezTo>
                    <a:pt x="38" y="327"/>
                    <a:pt x="64" y="327"/>
                    <a:pt x="81" y="311"/>
                  </a:cubicBezTo>
                  <a:cubicBezTo>
                    <a:pt x="92" y="300"/>
                    <a:pt x="92" y="300"/>
                    <a:pt x="92" y="300"/>
                  </a:cubicBezTo>
                  <a:cubicBezTo>
                    <a:pt x="124" y="268"/>
                    <a:pt x="124" y="268"/>
                    <a:pt x="124" y="268"/>
                  </a:cubicBezTo>
                  <a:cubicBezTo>
                    <a:pt x="109" y="261"/>
                    <a:pt x="96" y="251"/>
                    <a:pt x="85" y="240"/>
                  </a:cubicBezTo>
                  <a:close/>
                  <a:moveTo>
                    <a:pt x="286" y="38"/>
                  </a:moveTo>
                  <a:cubicBezTo>
                    <a:pt x="261" y="13"/>
                    <a:pt x="227" y="0"/>
                    <a:pt x="193" y="0"/>
                  </a:cubicBezTo>
                  <a:cubicBezTo>
                    <a:pt x="160" y="0"/>
                    <a:pt x="126" y="13"/>
                    <a:pt x="101" y="38"/>
                  </a:cubicBezTo>
                  <a:cubicBezTo>
                    <a:pt x="75" y="64"/>
                    <a:pt x="62" y="97"/>
                    <a:pt x="62" y="131"/>
                  </a:cubicBezTo>
                  <a:cubicBezTo>
                    <a:pt x="62" y="165"/>
                    <a:pt x="75" y="198"/>
                    <a:pt x="101" y="224"/>
                  </a:cubicBezTo>
                  <a:cubicBezTo>
                    <a:pt x="126" y="250"/>
                    <a:pt x="160" y="262"/>
                    <a:pt x="193" y="262"/>
                  </a:cubicBezTo>
                  <a:cubicBezTo>
                    <a:pt x="227" y="262"/>
                    <a:pt x="261" y="250"/>
                    <a:pt x="286" y="224"/>
                  </a:cubicBezTo>
                  <a:cubicBezTo>
                    <a:pt x="312" y="198"/>
                    <a:pt x="325" y="165"/>
                    <a:pt x="325" y="131"/>
                  </a:cubicBezTo>
                  <a:cubicBezTo>
                    <a:pt x="325" y="97"/>
                    <a:pt x="312" y="64"/>
                    <a:pt x="286" y="38"/>
                  </a:cubicBezTo>
                  <a:close/>
                  <a:moveTo>
                    <a:pt x="267" y="204"/>
                  </a:moveTo>
                  <a:cubicBezTo>
                    <a:pt x="246" y="224"/>
                    <a:pt x="220" y="235"/>
                    <a:pt x="193" y="235"/>
                  </a:cubicBezTo>
                  <a:cubicBezTo>
                    <a:pt x="167" y="235"/>
                    <a:pt x="141" y="224"/>
                    <a:pt x="120" y="204"/>
                  </a:cubicBezTo>
                  <a:cubicBezTo>
                    <a:pt x="100" y="184"/>
                    <a:pt x="90" y="158"/>
                    <a:pt x="90" y="131"/>
                  </a:cubicBezTo>
                  <a:cubicBezTo>
                    <a:pt x="90" y="104"/>
                    <a:pt x="100" y="78"/>
                    <a:pt x="120" y="58"/>
                  </a:cubicBezTo>
                  <a:cubicBezTo>
                    <a:pt x="141" y="38"/>
                    <a:pt x="167" y="28"/>
                    <a:pt x="193" y="27"/>
                  </a:cubicBezTo>
                  <a:cubicBezTo>
                    <a:pt x="220" y="28"/>
                    <a:pt x="246" y="38"/>
                    <a:pt x="267" y="58"/>
                  </a:cubicBezTo>
                  <a:cubicBezTo>
                    <a:pt x="287" y="78"/>
                    <a:pt x="297" y="104"/>
                    <a:pt x="297" y="131"/>
                  </a:cubicBezTo>
                  <a:cubicBezTo>
                    <a:pt x="297" y="158"/>
                    <a:pt x="287" y="184"/>
                    <a:pt x="267" y="2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15A743CC-D89D-F692-EE25-23D4491EBC86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787878">
                    <a:lumMod val="60000"/>
                    <a:lumOff val="40000"/>
                  </a:srgbClr>
                </a:solidFill>
                <a:latin typeface="Open Sans"/>
              </a:rPr>
              <a:t>Methodology and analysis</a:t>
            </a:r>
            <a:endParaRPr kumimoji="0" lang="en-US" sz="900" b="1" i="0" u="none" strike="noStrike" kern="0" cap="all" spc="250" normalizeH="0" baseline="0" noProof="0" dirty="0">
              <a:ln>
                <a:noFill/>
              </a:ln>
              <a:solidFill>
                <a:srgbClr val="787878">
                  <a:lumMod val="60000"/>
                  <a:lumOff val="40000"/>
                </a:srgbClr>
              </a:solidFill>
              <a:effectLst/>
              <a:uLnTx/>
              <a:uFillTx/>
              <a:latin typeface="Open Sans"/>
            </a:endParaRPr>
          </a:p>
        </p:txBody>
      </p:sp>
      <p:sp>
        <p:nvSpPr>
          <p:cNvPr id="8" name="Arrow: Chevron 7">
            <a:extLst>
              <a:ext uri="{FF2B5EF4-FFF2-40B4-BE49-F238E27FC236}">
                <a16:creationId xmlns:a16="http://schemas.microsoft.com/office/drawing/2014/main" id="{18092A87-841F-2962-A00A-6825D3CFB6C5}"/>
              </a:ext>
            </a:extLst>
          </p:cNvPr>
          <p:cNvSpPr/>
          <p:nvPr/>
        </p:nvSpPr>
        <p:spPr bwMode="gray">
          <a:xfrm>
            <a:off x="2874235" y="142882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0" name="Arrow: Chevron 9">
            <a:extLst>
              <a:ext uri="{FF2B5EF4-FFF2-40B4-BE49-F238E27FC236}">
                <a16:creationId xmlns:a16="http://schemas.microsoft.com/office/drawing/2014/main" id="{8AC5FBB3-7C50-FBA6-B7BF-DB6A21E29652}"/>
              </a:ext>
            </a:extLst>
          </p:cNvPr>
          <p:cNvSpPr/>
          <p:nvPr/>
        </p:nvSpPr>
        <p:spPr bwMode="gray">
          <a:xfrm>
            <a:off x="3160725" y="137515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3" name="Arrow: Chevron 12">
            <a:extLst>
              <a:ext uri="{FF2B5EF4-FFF2-40B4-BE49-F238E27FC236}">
                <a16:creationId xmlns:a16="http://schemas.microsoft.com/office/drawing/2014/main" id="{7B6911B0-13E8-6FA9-BFF7-30532F84695F}"/>
              </a:ext>
            </a:extLst>
          </p:cNvPr>
          <p:cNvSpPr/>
          <p:nvPr/>
        </p:nvSpPr>
        <p:spPr bwMode="gray">
          <a:xfrm>
            <a:off x="3447878" y="139527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23" name="Text Placeholder 1">
            <a:extLst>
              <a:ext uri="{FF2B5EF4-FFF2-40B4-BE49-F238E27FC236}">
                <a16:creationId xmlns:a16="http://schemas.microsoft.com/office/drawing/2014/main" id="{160C397E-A29D-E2E5-78F2-9D78AC25AEC6}"/>
              </a:ext>
            </a:extLst>
          </p:cNvPr>
          <p:cNvSpPr txBox="1">
            <a:spLocks/>
          </p:cNvSpPr>
          <p:nvPr/>
        </p:nvSpPr>
        <p:spPr>
          <a:xfrm>
            <a:off x="306243" y="911236"/>
            <a:ext cx="11109395" cy="549646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Each model outperformed the baseline significantly, but each model performed similarly in terms of accuracy. </a:t>
            </a:r>
          </a:p>
        </p:txBody>
      </p: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F6126CCC-84BA-C47D-BE4D-BBC4E8136A15}"/>
              </a:ext>
            </a:extLst>
          </p:cNvPr>
          <p:cNvSpPr txBox="1">
            <a:spLocks/>
          </p:cNvSpPr>
          <p:nvPr/>
        </p:nvSpPr>
        <p:spPr>
          <a:xfrm>
            <a:off x="369067" y="5711069"/>
            <a:ext cx="11453866" cy="838216"/>
          </a:xfrm>
          <a:prstGeom prst="rect">
            <a:avLst/>
          </a:prstGeom>
          <a:solidFill>
            <a:srgbClr val="00B0F0">
              <a:alpha val="44000"/>
            </a:srgbClr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>
            <a:defPPr>
              <a:defRPr lang="en-US"/>
            </a:defPPr>
            <a:lvl1pPr algn="ctr">
              <a:lnSpc>
                <a:spcPct val="106000"/>
              </a:lnSpc>
              <a:buFont typeface="Wingdings 2" pitchFamily="18" charset="2"/>
              <a:buNone/>
              <a:defRPr sz="1600" b="1"/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gistic Regression using </a:t>
            </a:r>
            <a:r>
              <a:rPr lang="en-US" dirty="0" err="1"/>
              <a:t>TfidfVectorizer</a:t>
            </a:r>
            <a:r>
              <a:rPr lang="en-US" dirty="0"/>
              <a:t> </a:t>
            </a:r>
            <a:r>
              <a:rPr lang="en-US" b="0" dirty="0"/>
              <a:t>transformation was selected to be the final model. While the accuracy was similar to the SVM, we choose the logistic regression for its </a:t>
            </a:r>
            <a:r>
              <a:rPr lang="en-US" dirty="0"/>
              <a:t>simplicity, interpretability, and computational efficiency. </a:t>
            </a:r>
          </a:p>
        </p:txBody>
      </p:sp>
    </p:spTree>
    <p:extLst>
      <p:ext uri="{BB962C8B-B14F-4D97-AF65-F5344CB8AC3E}">
        <p14:creationId xmlns:p14="http://schemas.microsoft.com/office/powerpoint/2010/main" val="3110262395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E800489A-F27D-A60D-63C2-C646B753BE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1165" y="1281422"/>
            <a:ext cx="9279549" cy="4450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3BC8A91-5A7A-43B0-9AEC-E8EFEC1F9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/>
          <a:lstStyle/>
          <a:p>
            <a:r>
              <a:rPr lang="en-US" sz="3200" b="1" spc="-75" dirty="0">
                <a:solidFill>
                  <a:srgbClr val="000000"/>
                </a:solidFill>
                <a:latin typeface="Chronicle Display Semi" pitchFamily="50" charset="0"/>
              </a:rPr>
              <a:t>Modeling Accuracy and Final Model Selection</a:t>
            </a:r>
            <a:endParaRPr lang="en-US" sz="1800" b="1" dirty="0">
              <a:latin typeface="Chronicle Display Semi"/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393DB15E-F8D9-40A0-9AAF-EF377C3FC491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61" name="object 3">
              <a:extLst>
                <a:ext uri="{FF2B5EF4-FFF2-40B4-BE49-F238E27FC236}">
                  <a16:creationId xmlns:a16="http://schemas.microsoft.com/office/drawing/2014/main" id="{B49A43F9-939C-43E8-865B-78D0135BEF71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object 2">
              <a:extLst>
                <a:ext uri="{FF2B5EF4-FFF2-40B4-BE49-F238E27FC236}">
                  <a16:creationId xmlns:a16="http://schemas.microsoft.com/office/drawing/2014/main" id="{F0F1692B-A57D-451B-9DB4-45437C658B69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1E42ECB3-692F-C92C-A2D8-FB261E84EB2D}"/>
              </a:ext>
            </a:extLst>
          </p:cNvPr>
          <p:cNvGrpSpPr/>
          <p:nvPr/>
        </p:nvGrpSpPr>
        <p:grpSpPr>
          <a:xfrm>
            <a:off x="11151310" y="309698"/>
            <a:ext cx="588089" cy="415058"/>
            <a:chOff x="7558088" y="2198688"/>
            <a:chExt cx="1189038" cy="766762"/>
          </a:xfrm>
          <a:solidFill>
            <a:schemeClr val="bg1"/>
          </a:solidFill>
        </p:grpSpPr>
        <p:sp>
          <p:nvSpPr>
            <p:cNvPr id="3" name="Freeform 224">
              <a:extLst>
                <a:ext uri="{FF2B5EF4-FFF2-40B4-BE49-F238E27FC236}">
                  <a16:creationId xmlns:a16="http://schemas.microsoft.com/office/drawing/2014/main" id="{C35B8DAB-0459-ABCE-3F2D-A932D0D5C8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2413" y="2393950"/>
              <a:ext cx="311150" cy="266700"/>
            </a:xfrm>
            <a:custGeom>
              <a:avLst/>
              <a:gdLst>
                <a:gd name="T0" fmla="*/ 53 w 133"/>
                <a:gd name="T1" fmla="*/ 0 h 114"/>
                <a:gd name="T2" fmla="*/ 0 w 133"/>
                <a:gd name="T3" fmla="*/ 53 h 114"/>
                <a:gd name="T4" fmla="*/ 0 w 133"/>
                <a:gd name="T5" fmla="*/ 98 h 114"/>
                <a:gd name="T6" fmla="*/ 4 w 133"/>
                <a:gd name="T7" fmla="*/ 103 h 114"/>
                <a:gd name="T8" fmla="*/ 18 w 133"/>
                <a:gd name="T9" fmla="*/ 114 h 114"/>
                <a:gd name="T10" fmla="*/ 23 w 133"/>
                <a:gd name="T11" fmla="*/ 90 h 114"/>
                <a:gd name="T12" fmla="*/ 23 w 133"/>
                <a:gd name="T13" fmla="*/ 53 h 114"/>
                <a:gd name="T14" fmla="*/ 53 w 133"/>
                <a:gd name="T15" fmla="*/ 23 h 114"/>
                <a:gd name="T16" fmla="*/ 133 w 133"/>
                <a:gd name="T17" fmla="*/ 23 h 114"/>
                <a:gd name="T18" fmla="*/ 121 w 133"/>
                <a:gd name="T19" fmla="*/ 0 h 114"/>
                <a:gd name="T20" fmla="*/ 53 w 133"/>
                <a:gd name="T21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3" h="114">
                  <a:moveTo>
                    <a:pt x="53" y="0"/>
                  </a:moveTo>
                  <a:cubicBezTo>
                    <a:pt x="23" y="0"/>
                    <a:pt x="0" y="23"/>
                    <a:pt x="0" y="53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" y="100"/>
                    <a:pt x="3" y="102"/>
                    <a:pt x="4" y="103"/>
                  </a:cubicBezTo>
                  <a:cubicBezTo>
                    <a:pt x="8" y="107"/>
                    <a:pt x="13" y="111"/>
                    <a:pt x="18" y="114"/>
                  </a:cubicBezTo>
                  <a:cubicBezTo>
                    <a:pt x="23" y="90"/>
                    <a:pt x="23" y="90"/>
                    <a:pt x="23" y="90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3" y="36"/>
                    <a:pt x="36" y="23"/>
                    <a:pt x="53" y="23"/>
                  </a:cubicBezTo>
                  <a:cubicBezTo>
                    <a:pt x="133" y="23"/>
                    <a:pt x="133" y="23"/>
                    <a:pt x="133" y="23"/>
                  </a:cubicBezTo>
                  <a:cubicBezTo>
                    <a:pt x="131" y="14"/>
                    <a:pt x="126" y="7"/>
                    <a:pt x="121" y="0"/>
                  </a:cubicBezTo>
                  <a:lnTo>
                    <a:pt x="5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5" name="Freeform 225">
              <a:extLst>
                <a:ext uri="{FF2B5EF4-FFF2-40B4-BE49-F238E27FC236}">
                  <a16:creationId xmlns:a16="http://schemas.microsoft.com/office/drawing/2014/main" id="{82EE0CF3-18A3-7CD1-5537-EAF588EFD1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970838" y="2508250"/>
              <a:ext cx="225425" cy="180975"/>
            </a:xfrm>
            <a:custGeom>
              <a:avLst/>
              <a:gdLst>
                <a:gd name="T0" fmla="*/ 73 w 96"/>
                <a:gd name="T1" fmla="*/ 54 h 77"/>
                <a:gd name="T2" fmla="*/ 96 w 96"/>
                <a:gd name="T3" fmla="*/ 1 h 77"/>
                <a:gd name="T4" fmla="*/ 70 w 96"/>
                <a:gd name="T5" fmla="*/ 1 h 77"/>
                <a:gd name="T6" fmla="*/ 6 w 96"/>
                <a:gd name="T7" fmla="*/ 45 h 77"/>
                <a:gd name="T8" fmla="*/ 0 w 96"/>
                <a:gd name="T9" fmla="*/ 75 h 77"/>
                <a:gd name="T10" fmla="*/ 17 w 96"/>
                <a:gd name="T11" fmla="*/ 77 h 77"/>
                <a:gd name="T12" fmla="*/ 73 w 96"/>
                <a:gd name="T13" fmla="*/ 5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77">
                  <a:moveTo>
                    <a:pt x="73" y="54"/>
                  </a:moveTo>
                  <a:cubicBezTo>
                    <a:pt x="87" y="40"/>
                    <a:pt x="95" y="21"/>
                    <a:pt x="96" y="1"/>
                  </a:cubicBezTo>
                  <a:cubicBezTo>
                    <a:pt x="82" y="1"/>
                    <a:pt x="70" y="1"/>
                    <a:pt x="70" y="1"/>
                  </a:cubicBezTo>
                  <a:cubicBezTo>
                    <a:pt x="40" y="0"/>
                    <a:pt x="11" y="20"/>
                    <a:pt x="6" y="4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6" y="76"/>
                    <a:pt x="11" y="77"/>
                    <a:pt x="17" y="77"/>
                  </a:cubicBezTo>
                  <a:cubicBezTo>
                    <a:pt x="38" y="77"/>
                    <a:pt x="58" y="69"/>
                    <a:pt x="73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6" name="Freeform 226">
              <a:extLst>
                <a:ext uri="{FF2B5EF4-FFF2-40B4-BE49-F238E27FC236}">
                  <a16:creationId xmlns:a16="http://schemas.microsoft.com/office/drawing/2014/main" id="{9BBEFD13-2A70-6B17-D9A3-01179347ABE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5013" y="2374900"/>
              <a:ext cx="290513" cy="77787"/>
            </a:xfrm>
            <a:custGeom>
              <a:avLst/>
              <a:gdLst>
                <a:gd name="T0" fmla="*/ 89 w 124"/>
                <a:gd name="T1" fmla="*/ 0 h 33"/>
                <a:gd name="T2" fmla="*/ 0 w 124"/>
                <a:gd name="T3" fmla="*/ 0 h 33"/>
                <a:gd name="T4" fmla="*/ 5 w 124"/>
                <a:gd name="T5" fmla="*/ 16 h 33"/>
                <a:gd name="T6" fmla="*/ 89 w 124"/>
                <a:gd name="T7" fmla="*/ 16 h 33"/>
                <a:gd name="T8" fmla="*/ 109 w 124"/>
                <a:gd name="T9" fmla="*/ 33 h 33"/>
                <a:gd name="T10" fmla="*/ 124 w 124"/>
                <a:gd name="T11" fmla="*/ 33 h 33"/>
                <a:gd name="T12" fmla="*/ 89 w 124"/>
                <a:gd name="T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33">
                  <a:moveTo>
                    <a:pt x="8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5"/>
                    <a:pt x="3" y="10"/>
                    <a:pt x="5" y="16"/>
                  </a:cubicBezTo>
                  <a:cubicBezTo>
                    <a:pt x="89" y="16"/>
                    <a:pt x="89" y="16"/>
                    <a:pt x="89" y="16"/>
                  </a:cubicBezTo>
                  <a:cubicBezTo>
                    <a:pt x="99" y="16"/>
                    <a:pt x="108" y="23"/>
                    <a:pt x="109" y="33"/>
                  </a:cubicBezTo>
                  <a:cubicBezTo>
                    <a:pt x="115" y="33"/>
                    <a:pt x="120" y="33"/>
                    <a:pt x="124" y="33"/>
                  </a:cubicBezTo>
                  <a:cubicBezTo>
                    <a:pt x="123" y="15"/>
                    <a:pt x="108" y="0"/>
                    <a:pt x="8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227">
              <a:extLst>
                <a:ext uri="{FF2B5EF4-FFF2-40B4-BE49-F238E27FC236}">
                  <a16:creationId xmlns:a16="http://schemas.microsoft.com/office/drawing/2014/main" id="{B10742B4-7938-44D8-7C15-4F533DAEFC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69238" y="2493963"/>
              <a:ext cx="877888" cy="458787"/>
            </a:xfrm>
            <a:custGeom>
              <a:avLst/>
              <a:gdLst>
                <a:gd name="T0" fmla="*/ 341 w 374"/>
                <a:gd name="T1" fmla="*/ 0 h 195"/>
                <a:gd name="T2" fmla="*/ 217 w 374"/>
                <a:gd name="T3" fmla="*/ 0 h 195"/>
                <a:gd name="T4" fmla="*/ 217 w 374"/>
                <a:gd name="T5" fmla="*/ 5 h 195"/>
                <a:gd name="T6" fmla="*/ 171 w 374"/>
                <a:gd name="T7" fmla="*/ 116 h 195"/>
                <a:gd name="T8" fmla="*/ 61 w 374"/>
                <a:gd name="T9" fmla="*/ 162 h 195"/>
                <a:gd name="T10" fmla="*/ 60 w 374"/>
                <a:gd name="T11" fmla="*/ 162 h 195"/>
                <a:gd name="T12" fmla="*/ 60 w 374"/>
                <a:gd name="T13" fmla="*/ 162 h 195"/>
                <a:gd name="T14" fmla="*/ 14 w 374"/>
                <a:gd name="T15" fmla="*/ 155 h 195"/>
                <a:gd name="T16" fmla="*/ 9 w 374"/>
                <a:gd name="T17" fmla="*/ 160 h 195"/>
                <a:gd name="T18" fmla="*/ 1 w 374"/>
                <a:gd name="T19" fmla="*/ 168 h 195"/>
                <a:gd name="T20" fmla="*/ 30 w 374"/>
                <a:gd name="T21" fmla="*/ 195 h 195"/>
                <a:gd name="T22" fmla="*/ 290 w 374"/>
                <a:gd name="T23" fmla="*/ 195 h 195"/>
                <a:gd name="T24" fmla="*/ 334 w 374"/>
                <a:gd name="T25" fmla="*/ 164 h 195"/>
                <a:gd name="T26" fmla="*/ 370 w 374"/>
                <a:gd name="T27" fmla="*/ 30 h 195"/>
                <a:gd name="T28" fmla="*/ 341 w 374"/>
                <a:gd name="T29" fmla="*/ 0 h 195"/>
                <a:gd name="T30" fmla="*/ 307 w 374"/>
                <a:gd name="T31" fmla="*/ 151 h 195"/>
                <a:gd name="T32" fmla="*/ 300 w 374"/>
                <a:gd name="T33" fmla="*/ 156 h 195"/>
                <a:gd name="T34" fmla="*/ 188 w 374"/>
                <a:gd name="T35" fmla="*/ 156 h 195"/>
                <a:gd name="T36" fmla="*/ 183 w 374"/>
                <a:gd name="T37" fmla="*/ 151 h 195"/>
                <a:gd name="T38" fmla="*/ 190 w 374"/>
                <a:gd name="T39" fmla="*/ 146 h 195"/>
                <a:gd name="T40" fmla="*/ 302 w 374"/>
                <a:gd name="T41" fmla="*/ 146 h 195"/>
                <a:gd name="T42" fmla="*/ 307 w 374"/>
                <a:gd name="T43" fmla="*/ 151 h 195"/>
                <a:gd name="T44" fmla="*/ 313 w 374"/>
                <a:gd name="T45" fmla="*/ 130 h 195"/>
                <a:gd name="T46" fmla="*/ 305 w 374"/>
                <a:gd name="T47" fmla="*/ 135 h 195"/>
                <a:gd name="T48" fmla="*/ 193 w 374"/>
                <a:gd name="T49" fmla="*/ 135 h 195"/>
                <a:gd name="T50" fmla="*/ 188 w 374"/>
                <a:gd name="T51" fmla="*/ 130 h 195"/>
                <a:gd name="T52" fmla="*/ 196 w 374"/>
                <a:gd name="T53" fmla="*/ 125 h 195"/>
                <a:gd name="T54" fmla="*/ 308 w 374"/>
                <a:gd name="T55" fmla="*/ 125 h 195"/>
                <a:gd name="T56" fmla="*/ 313 w 374"/>
                <a:gd name="T57" fmla="*/ 13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4" h="195">
                  <a:moveTo>
                    <a:pt x="341" y="0"/>
                  </a:moveTo>
                  <a:cubicBezTo>
                    <a:pt x="341" y="0"/>
                    <a:pt x="273" y="0"/>
                    <a:pt x="217" y="0"/>
                  </a:cubicBezTo>
                  <a:cubicBezTo>
                    <a:pt x="217" y="1"/>
                    <a:pt x="217" y="3"/>
                    <a:pt x="217" y="5"/>
                  </a:cubicBezTo>
                  <a:cubicBezTo>
                    <a:pt x="217" y="47"/>
                    <a:pt x="201" y="86"/>
                    <a:pt x="171" y="116"/>
                  </a:cubicBezTo>
                  <a:cubicBezTo>
                    <a:pt x="142" y="145"/>
                    <a:pt x="102" y="162"/>
                    <a:pt x="61" y="162"/>
                  </a:cubicBezTo>
                  <a:cubicBezTo>
                    <a:pt x="60" y="162"/>
                    <a:pt x="60" y="162"/>
                    <a:pt x="60" y="162"/>
                  </a:cubicBezTo>
                  <a:cubicBezTo>
                    <a:pt x="60" y="162"/>
                    <a:pt x="60" y="162"/>
                    <a:pt x="60" y="162"/>
                  </a:cubicBezTo>
                  <a:cubicBezTo>
                    <a:pt x="44" y="162"/>
                    <a:pt x="29" y="159"/>
                    <a:pt x="14" y="155"/>
                  </a:cubicBezTo>
                  <a:cubicBezTo>
                    <a:pt x="9" y="160"/>
                    <a:pt x="9" y="160"/>
                    <a:pt x="9" y="160"/>
                  </a:cubicBezTo>
                  <a:cubicBezTo>
                    <a:pt x="1" y="168"/>
                    <a:pt x="1" y="168"/>
                    <a:pt x="1" y="168"/>
                  </a:cubicBezTo>
                  <a:cubicBezTo>
                    <a:pt x="0" y="183"/>
                    <a:pt x="12" y="195"/>
                    <a:pt x="30" y="195"/>
                  </a:cubicBezTo>
                  <a:cubicBezTo>
                    <a:pt x="290" y="195"/>
                    <a:pt x="290" y="195"/>
                    <a:pt x="290" y="195"/>
                  </a:cubicBezTo>
                  <a:cubicBezTo>
                    <a:pt x="310" y="195"/>
                    <a:pt x="329" y="181"/>
                    <a:pt x="334" y="164"/>
                  </a:cubicBezTo>
                  <a:cubicBezTo>
                    <a:pt x="370" y="30"/>
                    <a:pt x="370" y="30"/>
                    <a:pt x="370" y="30"/>
                  </a:cubicBezTo>
                  <a:cubicBezTo>
                    <a:pt x="374" y="13"/>
                    <a:pt x="362" y="0"/>
                    <a:pt x="341" y="0"/>
                  </a:cubicBezTo>
                  <a:close/>
                  <a:moveTo>
                    <a:pt x="307" y="151"/>
                  </a:moveTo>
                  <a:cubicBezTo>
                    <a:pt x="306" y="154"/>
                    <a:pt x="303" y="156"/>
                    <a:pt x="300" y="156"/>
                  </a:cubicBezTo>
                  <a:cubicBezTo>
                    <a:pt x="188" y="156"/>
                    <a:pt x="188" y="156"/>
                    <a:pt x="188" y="156"/>
                  </a:cubicBezTo>
                  <a:cubicBezTo>
                    <a:pt x="185" y="156"/>
                    <a:pt x="182" y="154"/>
                    <a:pt x="183" y="151"/>
                  </a:cubicBezTo>
                  <a:cubicBezTo>
                    <a:pt x="184" y="148"/>
                    <a:pt x="187" y="146"/>
                    <a:pt x="190" y="146"/>
                  </a:cubicBezTo>
                  <a:cubicBezTo>
                    <a:pt x="302" y="146"/>
                    <a:pt x="302" y="146"/>
                    <a:pt x="302" y="146"/>
                  </a:cubicBezTo>
                  <a:cubicBezTo>
                    <a:pt x="306" y="146"/>
                    <a:pt x="308" y="148"/>
                    <a:pt x="307" y="151"/>
                  </a:cubicBezTo>
                  <a:close/>
                  <a:moveTo>
                    <a:pt x="313" y="130"/>
                  </a:moveTo>
                  <a:cubicBezTo>
                    <a:pt x="312" y="133"/>
                    <a:pt x="309" y="135"/>
                    <a:pt x="305" y="135"/>
                  </a:cubicBezTo>
                  <a:cubicBezTo>
                    <a:pt x="193" y="135"/>
                    <a:pt x="193" y="135"/>
                    <a:pt x="193" y="135"/>
                  </a:cubicBezTo>
                  <a:cubicBezTo>
                    <a:pt x="190" y="135"/>
                    <a:pt x="188" y="133"/>
                    <a:pt x="188" y="130"/>
                  </a:cubicBezTo>
                  <a:cubicBezTo>
                    <a:pt x="189" y="127"/>
                    <a:pt x="192" y="125"/>
                    <a:pt x="196" y="125"/>
                  </a:cubicBezTo>
                  <a:cubicBezTo>
                    <a:pt x="308" y="125"/>
                    <a:pt x="308" y="125"/>
                    <a:pt x="308" y="125"/>
                  </a:cubicBezTo>
                  <a:cubicBezTo>
                    <a:pt x="311" y="125"/>
                    <a:pt x="313" y="127"/>
                    <a:pt x="313" y="1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228">
              <a:extLst>
                <a:ext uri="{FF2B5EF4-FFF2-40B4-BE49-F238E27FC236}">
                  <a16:creationId xmlns:a16="http://schemas.microsoft.com/office/drawing/2014/main" id="{B0C83731-EDBB-5135-2483-A95719B6C0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58088" y="2198688"/>
              <a:ext cx="762000" cy="766762"/>
            </a:xfrm>
            <a:custGeom>
              <a:avLst/>
              <a:gdLst>
                <a:gd name="T0" fmla="*/ 85 w 325"/>
                <a:gd name="T1" fmla="*/ 240 h 327"/>
                <a:gd name="T2" fmla="*/ 85 w 325"/>
                <a:gd name="T3" fmla="*/ 240 h 327"/>
                <a:gd name="T4" fmla="*/ 58 w 325"/>
                <a:gd name="T5" fmla="*/ 204 h 327"/>
                <a:gd name="T6" fmla="*/ 27 w 325"/>
                <a:gd name="T7" fmla="*/ 235 h 327"/>
                <a:gd name="T8" fmla="*/ 16 w 325"/>
                <a:gd name="T9" fmla="*/ 246 h 327"/>
                <a:gd name="T10" fmla="*/ 16 w 325"/>
                <a:gd name="T11" fmla="*/ 306 h 327"/>
                <a:gd name="T12" fmla="*/ 21 w 325"/>
                <a:gd name="T13" fmla="*/ 311 h 327"/>
                <a:gd name="T14" fmla="*/ 81 w 325"/>
                <a:gd name="T15" fmla="*/ 311 h 327"/>
                <a:gd name="T16" fmla="*/ 92 w 325"/>
                <a:gd name="T17" fmla="*/ 300 h 327"/>
                <a:gd name="T18" fmla="*/ 124 w 325"/>
                <a:gd name="T19" fmla="*/ 268 h 327"/>
                <a:gd name="T20" fmla="*/ 85 w 325"/>
                <a:gd name="T21" fmla="*/ 240 h 327"/>
                <a:gd name="T22" fmla="*/ 286 w 325"/>
                <a:gd name="T23" fmla="*/ 38 h 327"/>
                <a:gd name="T24" fmla="*/ 193 w 325"/>
                <a:gd name="T25" fmla="*/ 0 h 327"/>
                <a:gd name="T26" fmla="*/ 101 w 325"/>
                <a:gd name="T27" fmla="*/ 38 h 327"/>
                <a:gd name="T28" fmla="*/ 62 w 325"/>
                <a:gd name="T29" fmla="*/ 131 h 327"/>
                <a:gd name="T30" fmla="*/ 101 w 325"/>
                <a:gd name="T31" fmla="*/ 224 h 327"/>
                <a:gd name="T32" fmla="*/ 193 w 325"/>
                <a:gd name="T33" fmla="*/ 262 h 327"/>
                <a:gd name="T34" fmla="*/ 286 w 325"/>
                <a:gd name="T35" fmla="*/ 224 h 327"/>
                <a:gd name="T36" fmla="*/ 325 w 325"/>
                <a:gd name="T37" fmla="*/ 131 h 327"/>
                <a:gd name="T38" fmla="*/ 286 w 325"/>
                <a:gd name="T39" fmla="*/ 38 h 327"/>
                <a:gd name="T40" fmla="*/ 267 w 325"/>
                <a:gd name="T41" fmla="*/ 204 h 327"/>
                <a:gd name="T42" fmla="*/ 193 w 325"/>
                <a:gd name="T43" fmla="*/ 235 h 327"/>
                <a:gd name="T44" fmla="*/ 120 w 325"/>
                <a:gd name="T45" fmla="*/ 204 h 327"/>
                <a:gd name="T46" fmla="*/ 90 w 325"/>
                <a:gd name="T47" fmla="*/ 131 h 327"/>
                <a:gd name="T48" fmla="*/ 120 w 325"/>
                <a:gd name="T49" fmla="*/ 58 h 327"/>
                <a:gd name="T50" fmla="*/ 193 w 325"/>
                <a:gd name="T51" fmla="*/ 27 h 327"/>
                <a:gd name="T52" fmla="*/ 267 w 325"/>
                <a:gd name="T53" fmla="*/ 58 h 327"/>
                <a:gd name="T54" fmla="*/ 297 w 325"/>
                <a:gd name="T55" fmla="*/ 131 h 327"/>
                <a:gd name="T56" fmla="*/ 267 w 325"/>
                <a:gd name="T57" fmla="*/ 204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25" h="327">
                  <a:moveTo>
                    <a:pt x="85" y="240"/>
                  </a:moveTo>
                  <a:cubicBezTo>
                    <a:pt x="85" y="240"/>
                    <a:pt x="85" y="240"/>
                    <a:pt x="85" y="240"/>
                  </a:cubicBezTo>
                  <a:cubicBezTo>
                    <a:pt x="74" y="229"/>
                    <a:pt x="65" y="217"/>
                    <a:pt x="58" y="204"/>
                  </a:cubicBezTo>
                  <a:cubicBezTo>
                    <a:pt x="27" y="235"/>
                    <a:pt x="27" y="235"/>
                    <a:pt x="27" y="235"/>
                  </a:cubicBezTo>
                  <a:cubicBezTo>
                    <a:pt x="16" y="246"/>
                    <a:pt x="16" y="246"/>
                    <a:pt x="16" y="246"/>
                  </a:cubicBezTo>
                  <a:cubicBezTo>
                    <a:pt x="0" y="263"/>
                    <a:pt x="0" y="290"/>
                    <a:pt x="16" y="306"/>
                  </a:cubicBezTo>
                  <a:cubicBezTo>
                    <a:pt x="21" y="311"/>
                    <a:pt x="21" y="311"/>
                    <a:pt x="21" y="311"/>
                  </a:cubicBezTo>
                  <a:cubicBezTo>
                    <a:pt x="38" y="327"/>
                    <a:pt x="64" y="327"/>
                    <a:pt x="81" y="311"/>
                  </a:cubicBezTo>
                  <a:cubicBezTo>
                    <a:pt x="92" y="300"/>
                    <a:pt x="92" y="300"/>
                    <a:pt x="92" y="300"/>
                  </a:cubicBezTo>
                  <a:cubicBezTo>
                    <a:pt x="124" y="268"/>
                    <a:pt x="124" y="268"/>
                    <a:pt x="124" y="268"/>
                  </a:cubicBezTo>
                  <a:cubicBezTo>
                    <a:pt x="109" y="261"/>
                    <a:pt x="96" y="251"/>
                    <a:pt x="85" y="240"/>
                  </a:cubicBezTo>
                  <a:close/>
                  <a:moveTo>
                    <a:pt x="286" y="38"/>
                  </a:moveTo>
                  <a:cubicBezTo>
                    <a:pt x="261" y="13"/>
                    <a:pt x="227" y="0"/>
                    <a:pt x="193" y="0"/>
                  </a:cubicBezTo>
                  <a:cubicBezTo>
                    <a:pt x="160" y="0"/>
                    <a:pt x="126" y="13"/>
                    <a:pt x="101" y="38"/>
                  </a:cubicBezTo>
                  <a:cubicBezTo>
                    <a:pt x="75" y="64"/>
                    <a:pt x="62" y="97"/>
                    <a:pt x="62" y="131"/>
                  </a:cubicBezTo>
                  <a:cubicBezTo>
                    <a:pt x="62" y="165"/>
                    <a:pt x="75" y="198"/>
                    <a:pt x="101" y="224"/>
                  </a:cubicBezTo>
                  <a:cubicBezTo>
                    <a:pt x="126" y="250"/>
                    <a:pt x="160" y="262"/>
                    <a:pt x="193" y="262"/>
                  </a:cubicBezTo>
                  <a:cubicBezTo>
                    <a:pt x="227" y="262"/>
                    <a:pt x="261" y="250"/>
                    <a:pt x="286" y="224"/>
                  </a:cubicBezTo>
                  <a:cubicBezTo>
                    <a:pt x="312" y="198"/>
                    <a:pt x="325" y="165"/>
                    <a:pt x="325" y="131"/>
                  </a:cubicBezTo>
                  <a:cubicBezTo>
                    <a:pt x="325" y="97"/>
                    <a:pt x="312" y="64"/>
                    <a:pt x="286" y="38"/>
                  </a:cubicBezTo>
                  <a:close/>
                  <a:moveTo>
                    <a:pt x="267" y="204"/>
                  </a:moveTo>
                  <a:cubicBezTo>
                    <a:pt x="246" y="224"/>
                    <a:pt x="220" y="235"/>
                    <a:pt x="193" y="235"/>
                  </a:cubicBezTo>
                  <a:cubicBezTo>
                    <a:pt x="167" y="235"/>
                    <a:pt x="141" y="224"/>
                    <a:pt x="120" y="204"/>
                  </a:cubicBezTo>
                  <a:cubicBezTo>
                    <a:pt x="100" y="184"/>
                    <a:pt x="90" y="158"/>
                    <a:pt x="90" y="131"/>
                  </a:cubicBezTo>
                  <a:cubicBezTo>
                    <a:pt x="90" y="104"/>
                    <a:pt x="100" y="78"/>
                    <a:pt x="120" y="58"/>
                  </a:cubicBezTo>
                  <a:cubicBezTo>
                    <a:pt x="141" y="38"/>
                    <a:pt x="167" y="28"/>
                    <a:pt x="193" y="27"/>
                  </a:cubicBezTo>
                  <a:cubicBezTo>
                    <a:pt x="220" y="28"/>
                    <a:pt x="246" y="38"/>
                    <a:pt x="267" y="58"/>
                  </a:cubicBezTo>
                  <a:cubicBezTo>
                    <a:pt x="287" y="78"/>
                    <a:pt x="297" y="104"/>
                    <a:pt x="297" y="131"/>
                  </a:cubicBezTo>
                  <a:cubicBezTo>
                    <a:pt x="297" y="158"/>
                    <a:pt x="287" y="184"/>
                    <a:pt x="267" y="2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15A743CC-D89D-F692-EE25-23D4491EBC86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787878">
                    <a:lumMod val="60000"/>
                    <a:lumOff val="40000"/>
                  </a:srgbClr>
                </a:solidFill>
                <a:latin typeface="Open Sans"/>
              </a:rPr>
              <a:t>Methodology and analysis</a:t>
            </a:r>
            <a:endParaRPr kumimoji="0" lang="en-US" sz="900" b="1" i="0" u="none" strike="noStrike" kern="0" cap="all" spc="250" normalizeH="0" baseline="0" noProof="0" dirty="0">
              <a:ln>
                <a:noFill/>
              </a:ln>
              <a:solidFill>
                <a:srgbClr val="787878">
                  <a:lumMod val="60000"/>
                  <a:lumOff val="40000"/>
                </a:srgbClr>
              </a:solidFill>
              <a:effectLst/>
              <a:uLnTx/>
              <a:uFillTx/>
              <a:latin typeface="Open Sans"/>
            </a:endParaRPr>
          </a:p>
        </p:txBody>
      </p:sp>
      <p:sp>
        <p:nvSpPr>
          <p:cNvPr id="8" name="Arrow: Chevron 7">
            <a:extLst>
              <a:ext uri="{FF2B5EF4-FFF2-40B4-BE49-F238E27FC236}">
                <a16:creationId xmlns:a16="http://schemas.microsoft.com/office/drawing/2014/main" id="{18092A87-841F-2962-A00A-6825D3CFB6C5}"/>
              </a:ext>
            </a:extLst>
          </p:cNvPr>
          <p:cNvSpPr/>
          <p:nvPr/>
        </p:nvSpPr>
        <p:spPr bwMode="gray">
          <a:xfrm>
            <a:off x="2874235" y="142882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0" name="Arrow: Chevron 9">
            <a:extLst>
              <a:ext uri="{FF2B5EF4-FFF2-40B4-BE49-F238E27FC236}">
                <a16:creationId xmlns:a16="http://schemas.microsoft.com/office/drawing/2014/main" id="{8AC5FBB3-7C50-FBA6-B7BF-DB6A21E29652}"/>
              </a:ext>
            </a:extLst>
          </p:cNvPr>
          <p:cNvSpPr/>
          <p:nvPr/>
        </p:nvSpPr>
        <p:spPr bwMode="gray">
          <a:xfrm>
            <a:off x="3160725" y="137515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3" name="Arrow: Chevron 12">
            <a:extLst>
              <a:ext uri="{FF2B5EF4-FFF2-40B4-BE49-F238E27FC236}">
                <a16:creationId xmlns:a16="http://schemas.microsoft.com/office/drawing/2014/main" id="{7B6911B0-13E8-6FA9-BFF7-30532F84695F}"/>
              </a:ext>
            </a:extLst>
          </p:cNvPr>
          <p:cNvSpPr/>
          <p:nvPr/>
        </p:nvSpPr>
        <p:spPr bwMode="gray">
          <a:xfrm>
            <a:off x="3447878" y="139527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23" name="Text Placeholder 1">
            <a:extLst>
              <a:ext uri="{FF2B5EF4-FFF2-40B4-BE49-F238E27FC236}">
                <a16:creationId xmlns:a16="http://schemas.microsoft.com/office/drawing/2014/main" id="{160C397E-A29D-E2E5-78F2-9D78AC25AEC6}"/>
              </a:ext>
            </a:extLst>
          </p:cNvPr>
          <p:cNvSpPr txBox="1">
            <a:spLocks/>
          </p:cNvSpPr>
          <p:nvPr/>
        </p:nvSpPr>
        <p:spPr>
          <a:xfrm>
            <a:off x="306243" y="911236"/>
            <a:ext cx="11109395" cy="549646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Each model outperformed the baseline significantly, but each model performed similarly in terms of accuracy. </a:t>
            </a:r>
          </a:p>
        </p:txBody>
      </p: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F6126CCC-84BA-C47D-BE4D-BBC4E8136A15}"/>
              </a:ext>
            </a:extLst>
          </p:cNvPr>
          <p:cNvSpPr txBox="1">
            <a:spLocks/>
          </p:cNvSpPr>
          <p:nvPr/>
        </p:nvSpPr>
        <p:spPr>
          <a:xfrm>
            <a:off x="369067" y="5711069"/>
            <a:ext cx="11453866" cy="838216"/>
          </a:xfrm>
          <a:prstGeom prst="rect">
            <a:avLst/>
          </a:prstGeom>
          <a:solidFill>
            <a:srgbClr val="00B0F0">
              <a:alpha val="44000"/>
            </a:srgbClr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>
            <a:defPPr>
              <a:defRPr lang="en-US"/>
            </a:defPPr>
            <a:lvl1pPr algn="ctr">
              <a:lnSpc>
                <a:spcPct val="106000"/>
              </a:lnSpc>
              <a:buFont typeface="Wingdings 2" pitchFamily="18" charset="2"/>
              <a:buNone/>
              <a:defRPr sz="1600" b="1"/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gistic Regression using </a:t>
            </a:r>
            <a:r>
              <a:rPr lang="en-US" dirty="0" err="1"/>
              <a:t>TfidfVectorizer</a:t>
            </a:r>
            <a:r>
              <a:rPr lang="en-US" dirty="0"/>
              <a:t> </a:t>
            </a:r>
            <a:r>
              <a:rPr lang="en-US" b="0" dirty="0"/>
              <a:t>transformation was selected to be the final model. While the accuracy was similar to the SVM, we choose the logistic regression for its </a:t>
            </a:r>
            <a:r>
              <a:rPr lang="en-US" dirty="0"/>
              <a:t>simplicity, interpretability, and computational efficiency. </a:t>
            </a:r>
          </a:p>
        </p:txBody>
      </p:sp>
      <p:sp>
        <p:nvSpPr>
          <p:cNvPr id="9" name="Callout: Right Arrow 8">
            <a:extLst>
              <a:ext uri="{FF2B5EF4-FFF2-40B4-BE49-F238E27FC236}">
                <a16:creationId xmlns:a16="http://schemas.microsoft.com/office/drawing/2014/main" id="{BEE152BC-97FE-5281-7C0B-8080E91E7C43}"/>
              </a:ext>
            </a:extLst>
          </p:cNvPr>
          <p:cNvSpPr/>
          <p:nvPr/>
        </p:nvSpPr>
        <p:spPr bwMode="gray">
          <a:xfrm>
            <a:off x="1559858" y="2210695"/>
            <a:ext cx="9410977" cy="591671"/>
          </a:xfrm>
          <a:prstGeom prst="rightArrowCallout">
            <a:avLst>
              <a:gd name="adj1" fmla="val 32354"/>
              <a:gd name="adj2" fmla="val 36177"/>
              <a:gd name="adj3" fmla="val 25000"/>
              <a:gd name="adj4" fmla="val 95191"/>
            </a:avLst>
          </a:prstGeom>
          <a:solidFill>
            <a:srgbClr val="DA291C">
              <a:alpha val="20000"/>
            </a:srgbClr>
          </a:solidFill>
          <a:ln w="38100" algn="ctr">
            <a:solidFill>
              <a:srgbClr val="C000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842544D-347D-65B9-5DDF-B74C379AD3FE}"/>
              </a:ext>
            </a:extLst>
          </p:cNvPr>
          <p:cNvSpPr txBox="1"/>
          <p:nvPr/>
        </p:nvSpPr>
        <p:spPr>
          <a:xfrm>
            <a:off x="10995794" y="2248369"/>
            <a:ext cx="882127" cy="55399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b="1" dirty="0">
                <a:solidFill>
                  <a:srgbClr val="C00000"/>
                </a:solidFill>
              </a:rPr>
              <a:t>Final Model</a:t>
            </a:r>
          </a:p>
        </p:txBody>
      </p:sp>
    </p:spTree>
    <p:extLst>
      <p:ext uri="{BB962C8B-B14F-4D97-AF65-F5344CB8AC3E}">
        <p14:creationId xmlns:p14="http://schemas.microsoft.com/office/powerpoint/2010/main" val="1094759540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3BC8A91-5A7A-43B0-9AEC-E8EFEC1F9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/>
          <a:lstStyle/>
          <a:p>
            <a:pPr>
              <a:tabLst>
                <a:tab pos="457200" algn="l"/>
              </a:tabLst>
            </a:pPr>
            <a:r>
              <a:rPr lang="en-US" sz="3200" b="1" spc="-75" dirty="0">
                <a:solidFill>
                  <a:srgbClr val="000000"/>
                </a:solidFill>
                <a:latin typeface="Chronicle Display Semi" pitchFamily="50" charset="0"/>
              </a:rPr>
              <a:t>Determining How to Use Our Model: Leverage EDA</a:t>
            </a:r>
            <a:endParaRPr lang="en-US" sz="1800" b="1" dirty="0">
              <a:latin typeface="Chronicle Display Semi"/>
            </a:endParaRPr>
          </a:p>
        </p:txBody>
      </p:sp>
      <p:sp>
        <p:nvSpPr>
          <p:cNvPr id="23" name="Text Placeholder 1">
            <a:extLst>
              <a:ext uri="{FF2B5EF4-FFF2-40B4-BE49-F238E27FC236}">
                <a16:creationId xmlns:a16="http://schemas.microsoft.com/office/drawing/2014/main" id="{160C397E-A29D-E2E5-78F2-9D78AC25AEC6}"/>
              </a:ext>
            </a:extLst>
          </p:cNvPr>
          <p:cNvSpPr txBox="1">
            <a:spLocks/>
          </p:cNvSpPr>
          <p:nvPr/>
        </p:nvSpPr>
        <p:spPr>
          <a:xfrm>
            <a:off x="306243" y="911236"/>
            <a:ext cx="11109395" cy="549646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To understand how our model can be leveraged to help Burton Snowboards, we must </a:t>
            </a:r>
            <a:r>
              <a:rPr lang="en-US" sz="1600" b="1" dirty="0"/>
              <a:t>leverage insights from our exploratory data analysis.</a:t>
            </a:r>
          </a:p>
        </p:txBody>
      </p: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F6126CCC-84BA-C47D-BE4D-BBC4E8136A15}"/>
              </a:ext>
            </a:extLst>
          </p:cNvPr>
          <p:cNvSpPr txBox="1">
            <a:spLocks/>
          </p:cNvSpPr>
          <p:nvPr/>
        </p:nvSpPr>
        <p:spPr>
          <a:xfrm>
            <a:off x="369067" y="5711069"/>
            <a:ext cx="11453866" cy="838216"/>
          </a:xfrm>
          <a:prstGeom prst="rect">
            <a:avLst/>
          </a:prstGeom>
          <a:solidFill>
            <a:srgbClr val="00B0F0">
              <a:alpha val="44000"/>
            </a:srgbClr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>
            <a:defPPr>
              <a:defRPr lang="en-US"/>
            </a:defPPr>
            <a:lvl1pPr algn="ctr">
              <a:lnSpc>
                <a:spcPct val="106000"/>
              </a:lnSpc>
              <a:buFont typeface="Wingdings 2" pitchFamily="18" charset="2"/>
              <a:buNone/>
              <a:defRPr sz="1600" b="1"/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/>
              <a:t>Both groups had a very similar number of average posts per author. Snowboarders  engaged by posting </a:t>
            </a:r>
            <a:r>
              <a:rPr lang="en-US" dirty="0"/>
              <a:t>longer messages </a:t>
            </a:r>
            <a:r>
              <a:rPr lang="en-US" b="0" dirty="0"/>
              <a:t>on average and upvoting fewer messages, whereas skiers engaged by </a:t>
            </a:r>
            <a:r>
              <a:rPr lang="en-US" dirty="0"/>
              <a:t>upvoting more </a:t>
            </a:r>
            <a:r>
              <a:rPr lang="en-US" b="0" dirty="0"/>
              <a:t>messages and </a:t>
            </a:r>
            <a:r>
              <a:rPr lang="en-US" dirty="0"/>
              <a:t>commenting more </a:t>
            </a:r>
            <a:r>
              <a:rPr lang="en-US" b="0" dirty="0"/>
              <a:t>with each post.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D80AC6C-BFC0-5C10-5B04-554CBA448269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787878">
                    <a:lumMod val="60000"/>
                    <a:lumOff val="40000"/>
                  </a:srgbClr>
                </a:solidFill>
                <a:latin typeface="Open Sans"/>
              </a:rPr>
              <a:t>INSIGHT </a:t>
            </a:r>
            <a:r>
              <a:rPr kumimoji="0" lang="en-US" sz="900" b="1" i="0" u="none" strike="noStrike" kern="0" cap="all" spc="250" normalizeH="0" baseline="0" noProof="0" dirty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/>
              </a:rPr>
              <a:t>1</a:t>
            </a:r>
          </a:p>
        </p:txBody>
      </p:sp>
      <p:sp>
        <p:nvSpPr>
          <p:cNvPr id="12" name="Arrow: Chevron 11">
            <a:extLst>
              <a:ext uri="{FF2B5EF4-FFF2-40B4-BE49-F238E27FC236}">
                <a16:creationId xmlns:a16="http://schemas.microsoft.com/office/drawing/2014/main" id="{838D9FE7-670D-9741-CA56-A1A5E16FB866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5" name="Arrow: Chevron 14">
            <a:extLst>
              <a:ext uri="{FF2B5EF4-FFF2-40B4-BE49-F238E27FC236}">
                <a16:creationId xmlns:a16="http://schemas.microsoft.com/office/drawing/2014/main" id="{6DE12A58-D6A4-7FD7-06BC-5D8DB5FFB415}"/>
              </a:ext>
            </a:extLst>
          </p:cNvPr>
          <p:cNvSpPr/>
          <p:nvPr/>
        </p:nvSpPr>
        <p:spPr bwMode="gray">
          <a:xfrm>
            <a:off x="2408319" y="153822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5F622B8F-3F55-E347-928D-6902689E0608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70" name="object 3">
              <a:extLst>
                <a:ext uri="{FF2B5EF4-FFF2-40B4-BE49-F238E27FC236}">
                  <a16:creationId xmlns:a16="http://schemas.microsoft.com/office/drawing/2014/main" id="{CBCA03A3-2589-9AAB-6EE5-4F9DF99C581C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object 2">
              <a:extLst>
                <a:ext uri="{FF2B5EF4-FFF2-40B4-BE49-F238E27FC236}">
                  <a16:creationId xmlns:a16="http://schemas.microsoft.com/office/drawing/2014/main" id="{409F2714-3E23-15A5-8FD1-AFFCDBE09D22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72" name="Freeform 38">
            <a:extLst>
              <a:ext uri="{FF2B5EF4-FFF2-40B4-BE49-F238E27FC236}">
                <a16:creationId xmlns:a16="http://schemas.microsoft.com/office/drawing/2014/main" id="{A11CDB20-BE7B-01E9-E557-94EA3C13E369}"/>
              </a:ext>
            </a:extLst>
          </p:cNvPr>
          <p:cNvSpPr>
            <a:spLocks noEditPoints="1"/>
          </p:cNvSpPr>
          <p:nvPr/>
        </p:nvSpPr>
        <p:spPr bwMode="auto">
          <a:xfrm>
            <a:off x="11119250" y="339257"/>
            <a:ext cx="597770" cy="451205"/>
          </a:xfrm>
          <a:custGeom>
            <a:avLst/>
            <a:gdLst>
              <a:gd name="T0" fmla="*/ 267 w 373"/>
              <a:gd name="T1" fmla="*/ 229 h 269"/>
              <a:gd name="T2" fmla="*/ 319 w 373"/>
              <a:gd name="T3" fmla="*/ 192 h 269"/>
              <a:gd name="T4" fmla="*/ 292 w 373"/>
              <a:gd name="T5" fmla="*/ 175 h 269"/>
              <a:gd name="T6" fmla="*/ 280 w 373"/>
              <a:gd name="T7" fmla="*/ 164 h 269"/>
              <a:gd name="T8" fmla="*/ 257 w 373"/>
              <a:gd name="T9" fmla="*/ 163 h 269"/>
              <a:gd name="T10" fmla="*/ 244 w 373"/>
              <a:gd name="T11" fmla="*/ 173 h 269"/>
              <a:gd name="T12" fmla="*/ 216 w 373"/>
              <a:gd name="T13" fmla="*/ 188 h 269"/>
              <a:gd name="T14" fmla="*/ 223 w 373"/>
              <a:gd name="T15" fmla="*/ 219 h 269"/>
              <a:gd name="T16" fmla="*/ 223 w 373"/>
              <a:gd name="T17" fmla="*/ 235 h 269"/>
              <a:gd name="T18" fmla="*/ 239 w 373"/>
              <a:gd name="T19" fmla="*/ 252 h 269"/>
              <a:gd name="T20" fmla="*/ 255 w 373"/>
              <a:gd name="T21" fmla="*/ 255 h 269"/>
              <a:gd name="T22" fmla="*/ 286 w 373"/>
              <a:gd name="T23" fmla="*/ 264 h 269"/>
              <a:gd name="T24" fmla="*/ 303 w 373"/>
              <a:gd name="T25" fmla="*/ 237 h 269"/>
              <a:gd name="T26" fmla="*/ 314 w 373"/>
              <a:gd name="T27" fmla="*/ 225 h 269"/>
              <a:gd name="T28" fmla="*/ 315 w 373"/>
              <a:gd name="T29" fmla="*/ 202 h 269"/>
              <a:gd name="T30" fmla="*/ 230 w 373"/>
              <a:gd name="T31" fmla="*/ 212 h 269"/>
              <a:gd name="T32" fmla="*/ 267 w 373"/>
              <a:gd name="T33" fmla="*/ 248 h 269"/>
              <a:gd name="T34" fmla="*/ 266 w 373"/>
              <a:gd name="T35" fmla="*/ 81 h 269"/>
              <a:gd name="T36" fmla="*/ 318 w 373"/>
              <a:gd name="T37" fmla="*/ 81 h 269"/>
              <a:gd name="T38" fmla="*/ 357 w 373"/>
              <a:gd name="T39" fmla="*/ 99 h 269"/>
              <a:gd name="T40" fmla="*/ 371 w 373"/>
              <a:gd name="T41" fmla="*/ 52 h 269"/>
              <a:gd name="T42" fmla="*/ 330 w 373"/>
              <a:gd name="T43" fmla="*/ 26 h 269"/>
              <a:gd name="T44" fmla="*/ 328 w 373"/>
              <a:gd name="T45" fmla="*/ 5 h 269"/>
              <a:gd name="T46" fmla="*/ 280 w 373"/>
              <a:gd name="T47" fmla="*/ 15 h 269"/>
              <a:gd name="T48" fmla="*/ 256 w 373"/>
              <a:gd name="T49" fmla="*/ 16 h 269"/>
              <a:gd name="T50" fmla="*/ 231 w 373"/>
              <a:gd name="T51" fmla="*/ 40 h 269"/>
              <a:gd name="T52" fmla="*/ 227 w 373"/>
              <a:gd name="T53" fmla="*/ 63 h 269"/>
              <a:gd name="T54" fmla="*/ 213 w 373"/>
              <a:gd name="T55" fmla="*/ 110 h 269"/>
              <a:gd name="T56" fmla="*/ 252 w 373"/>
              <a:gd name="T57" fmla="*/ 135 h 269"/>
              <a:gd name="T58" fmla="*/ 256 w 373"/>
              <a:gd name="T59" fmla="*/ 157 h 269"/>
              <a:gd name="T60" fmla="*/ 304 w 373"/>
              <a:gd name="T61" fmla="*/ 147 h 269"/>
              <a:gd name="T62" fmla="*/ 327 w 373"/>
              <a:gd name="T63" fmla="*/ 146 h 269"/>
              <a:gd name="T64" fmla="*/ 353 w 373"/>
              <a:gd name="T65" fmla="*/ 122 h 269"/>
              <a:gd name="T66" fmla="*/ 292 w 373"/>
              <a:gd name="T67" fmla="*/ 136 h 269"/>
              <a:gd name="T68" fmla="*/ 292 w 373"/>
              <a:gd name="T69" fmla="*/ 26 h 269"/>
              <a:gd name="T70" fmla="*/ 292 w 373"/>
              <a:gd name="T71" fmla="*/ 136 h 269"/>
              <a:gd name="T72" fmla="*/ 120 w 373"/>
              <a:gd name="T73" fmla="*/ 186 h 269"/>
              <a:gd name="T74" fmla="*/ 214 w 373"/>
              <a:gd name="T75" fmla="*/ 165 h 269"/>
              <a:gd name="T76" fmla="*/ 240 w 373"/>
              <a:gd name="T77" fmla="*/ 148 h 269"/>
              <a:gd name="T78" fmla="*/ 197 w 373"/>
              <a:gd name="T79" fmla="*/ 94 h 269"/>
              <a:gd name="T80" fmla="*/ 182 w 373"/>
              <a:gd name="T81" fmla="*/ 64 h 269"/>
              <a:gd name="T82" fmla="*/ 136 w 373"/>
              <a:gd name="T83" fmla="*/ 45 h 269"/>
              <a:gd name="T84" fmla="*/ 103 w 373"/>
              <a:gd name="T85" fmla="*/ 55 h 269"/>
              <a:gd name="T86" fmla="*/ 35 w 373"/>
              <a:gd name="T87" fmla="*/ 64 h 269"/>
              <a:gd name="T88" fmla="*/ 26 w 373"/>
              <a:gd name="T89" fmla="*/ 133 h 269"/>
              <a:gd name="T90" fmla="*/ 16 w 373"/>
              <a:gd name="T91" fmla="*/ 165 h 269"/>
              <a:gd name="T92" fmla="*/ 35 w 373"/>
              <a:gd name="T93" fmla="*/ 211 h 269"/>
              <a:gd name="T94" fmla="*/ 65 w 373"/>
              <a:gd name="T95" fmla="*/ 227 h 269"/>
              <a:gd name="T96" fmla="*/ 103 w 373"/>
              <a:gd name="T97" fmla="*/ 253 h 269"/>
              <a:gd name="T98" fmla="*/ 136 w 373"/>
              <a:gd name="T99" fmla="*/ 243 h 269"/>
              <a:gd name="T100" fmla="*/ 204 w 373"/>
              <a:gd name="T101" fmla="*/ 234 h 269"/>
              <a:gd name="T102" fmla="*/ 212 w 373"/>
              <a:gd name="T103" fmla="*/ 172 h 269"/>
              <a:gd name="T104" fmla="*/ 123 w 373"/>
              <a:gd name="T105" fmla="*/ 226 h 269"/>
              <a:gd name="T106" fmla="*/ 120 w 373"/>
              <a:gd name="T107" fmla="*/ 71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73" h="269">
                <a:moveTo>
                  <a:pt x="267" y="194"/>
                </a:moveTo>
                <a:cubicBezTo>
                  <a:pt x="257" y="194"/>
                  <a:pt x="249" y="202"/>
                  <a:pt x="249" y="212"/>
                </a:cubicBezTo>
                <a:cubicBezTo>
                  <a:pt x="249" y="221"/>
                  <a:pt x="257" y="229"/>
                  <a:pt x="267" y="229"/>
                </a:cubicBezTo>
                <a:cubicBezTo>
                  <a:pt x="276" y="229"/>
                  <a:pt x="284" y="221"/>
                  <a:pt x="284" y="212"/>
                </a:cubicBezTo>
                <a:cubicBezTo>
                  <a:pt x="284" y="202"/>
                  <a:pt x="276" y="194"/>
                  <a:pt x="267" y="194"/>
                </a:cubicBezTo>
                <a:close/>
                <a:moveTo>
                  <a:pt x="319" y="192"/>
                </a:moveTo>
                <a:cubicBezTo>
                  <a:pt x="318" y="188"/>
                  <a:pt x="314" y="186"/>
                  <a:pt x="310" y="188"/>
                </a:cubicBezTo>
                <a:cubicBezTo>
                  <a:pt x="305" y="189"/>
                  <a:pt x="305" y="189"/>
                  <a:pt x="305" y="189"/>
                </a:cubicBezTo>
                <a:cubicBezTo>
                  <a:pt x="302" y="184"/>
                  <a:pt x="297" y="179"/>
                  <a:pt x="292" y="175"/>
                </a:cubicBezTo>
                <a:cubicBezTo>
                  <a:pt x="294" y="171"/>
                  <a:pt x="294" y="171"/>
                  <a:pt x="294" y="171"/>
                </a:cubicBezTo>
                <a:cubicBezTo>
                  <a:pt x="296" y="167"/>
                  <a:pt x="294" y="162"/>
                  <a:pt x="290" y="161"/>
                </a:cubicBezTo>
                <a:cubicBezTo>
                  <a:pt x="287" y="159"/>
                  <a:pt x="282" y="161"/>
                  <a:pt x="280" y="164"/>
                </a:cubicBezTo>
                <a:cubicBezTo>
                  <a:pt x="278" y="168"/>
                  <a:pt x="278" y="168"/>
                  <a:pt x="278" y="168"/>
                </a:cubicBezTo>
                <a:cubicBezTo>
                  <a:pt x="272" y="167"/>
                  <a:pt x="265" y="166"/>
                  <a:pt x="259" y="168"/>
                </a:cubicBezTo>
                <a:cubicBezTo>
                  <a:pt x="257" y="163"/>
                  <a:pt x="257" y="163"/>
                  <a:pt x="257" y="163"/>
                </a:cubicBezTo>
                <a:cubicBezTo>
                  <a:pt x="256" y="159"/>
                  <a:pt x="251" y="157"/>
                  <a:pt x="247" y="159"/>
                </a:cubicBezTo>
                <a:cubicBezTo>
                  <a:pt x="243" y="160"/>
                  <a:pt x="241" y="165"/>
                  <a:pt x="243" y="168"/>
                </a:cubicBezTo>
                <a:cubicBezTo>
                  <a:pt x="244" y="173"/>
                  <a:pt x="244" y="173"/>
                  <a:pt x="244" y="173"/>
                </a:cubicBezTo>
                <a:cubicBezTo>
                  <a:pt x="239" y="176"/>
                  <a:pt x="234" y="181"/>
                  <a:pt x="230" y="186"/>
                </a:cubicBezTo>
                <a:cubicBezTo>
                  <a:pt x="226" y="184"/>
                  <a:pt x="226" y="184"/>
                  <a:pt x="226" y="184"/>
                </a:cubicBezTo>
                <a:cubicBezTo>
                  <a:pt x="222" y="182"/>
                  <a:pt x="217" y="184"/>
                  <a:pt x="216" y="188"/>
                </a:cubicBezTo>
                <a:cubicBezTo>
                  <a:pt x="214" y="192"/>
                  <a:pt x="216" y="196"/>
                  <a:pt x="219" y="198"/>
                </a:cubicBezTo>
                <a:cubicBezTo>
                  <a:pt x="224" y="200"/>
                  <a:pt x="224" y="200"/>
                  <a:pt x="224" y="200"/>
                </a:cubicBezTo>
                <a:cubicBezTo>
                  <a:pt x="222" y="206"/>
                  <a:pt x="221" y="213"/>
                  <a:pt x="223" y="219"/>
                </a:cubicBezTo>
                <a:cubicBezTo>
                  <a:pt x="218" y="221"/>
                  <a:pt x="218" y="221"/>
                  <a:pt x="218" y="221"/>
                </a:cubicBezTo>
                <a:cubicBezTo>
                  <a:pt x="214" y="222"/>
                  <a:pt x="212" y="227"/>
                  <a:pt x="214" y="231"/>
                </a:cubicBezTo>
                <a:cubicBezTo>
                  <a:pt x="215" y="235"/>
                  <a:pt x="220" y="237"/>
                  <a:pt x="223" y="235"/>
                </a:cubicBezTo>
                <a:cubicBezTo>
                  <a:pt x="228" y="234"/>
                  <a:pt x="228" y="234"/>
                  <a:pt x="228" y="234"/>
                </a:cubicBezTo>
                <a:cubicBezTo>
                  <a:pt x="231" y="240"/>
                  <a:pt x="236" y="244"/>
                  <a:pt x="241" y="248"/>
                </a:cubicBezTo>
                <a:cubicBezTo>
                  <a:pt x="239" y="252"/>
                  <a:pt x="239" y="252"/>
                  <a:pt x="239" y="252"/>
                </a:cubicBezTo>
                <a:cubicBezTo>
                  <a:pt x="237" y="256"/>
                  <a:pt x="239" y="261"/>
                  <a:pt x="243" y="262"/>
                </a:cubicBezTo>
                <a:cubicBezTo>
                  <a:pt x="247" y="264"/>
                  <a:pt x="251" y="262"/>
                  <a:pt x="253" y="259"/>
                </a:cubicBezTo>
                <a:cubicBezTo>
                  <a:pt x="255" y="255"/>
                  <a:pt x="255" y="255"/>
                  <a:pt x="255" y="255"/>
                </a:cubicBezTo>
                <a:cubicBezTo>
                  <a:pt x="261" y="256"/>
                  <a:pt x="268" y="257"/>
                  <a:pt x="274" y="255"/>
                </a:cubicBezTo>
                <a:cubicBezTo>
                  <a:pt x="276" y="260"/>
                  <a:pt x="276" y="260"/>
                  <a:pt x="276" y="260"/>
                </a:cubicBezTo>
                <a:cubicBezTo>
                  <a:pt x="277" y="264"/>
                  <a:pt x="282" y="266"/>
                  <a:pt x="286" y="264"/>
                </a:cubicBezTo>
                <a:cubicBezTo>
                  <a:pt x="290" y="263"/>
                  <a:pt x="292" y="259"/>
                  <a:pt x="290" y="255"/>
                </a:cubicBezTo>
                <a:cubicBezTo>
                  <a:pt x="289" y="250"/>
                  <a:pt x="289" y="250"/>
                  <a:pt x="289" y="250"/>
                </a:cubicBezTo>
                <a:cubicBezTo>
                  <a:pt x="295" y="247"/>
                  <a:pt x="299" y="242"/>
                  <a:pt x="303" y="237"/>
                </a:cubicBezTo>
                <a:cubicBezTo>
                  <a:pt x="307" y="239"/>
                  <a:pt x="307" y="239"/>
                  <a:pt x="307" y="239"/>
                </a:cubicBezTo>
                <a:cubicBezTo>
                  <a:pt x="311" y="241"/>
                  <a:pt x="316" y="239"/>
                  <a:pt x="317" y="235"/>
                </a:cubicBezTo>
                <a:cubicBezTo>
                  <a:pt x="319" y="232"/>
                  <a:pt x="318" y="227"/>
                  <a:pt x="314" y="225"/>
                </a:cubicBezTo>
                <a:cubicBezTo>
                  <a:pt x="310" y="223"/>
                  <a:pt x="310" y="223"/>
                  <a:pt x="310" y="223"/>
                </a:cubicBezTo>
                <a:cubicBezTo>
                  <a:pt x="311" y="217"/>
                  <a:pt x="312" y="210"/>
                  <a:pt x="310" y="204"/>
                </a:cubicBezTo>
                <a:cubicBezTo>
                  <a:pt x="315" y="202"/>
                  <a:pt x="315" y="202"/>
                  <a:pt x="315" y="202"/>
                </a:cubicBezTo>
                <a:cubicBezTo>
                  <a:pt x="319" y="201"/>
                  <a:pt x="321" y="196"/>
                  <a:pt x="319" y="192"/>
                </a:cubicBezTo>
                <a:close/>
                <a:moveTo>
                  <a:pt x="267" y="248"/>
                </a:moveTo>
                <a:cubicBezTo>
                  <a:pt x="247" y="248"/>
                  <a:pt x="230" y="232"/>
                  <a:pt x="230" y="212"/>
                </a:cubicBezTo>
                <a:cubicBezTo>
                  <a:pt x="230" y="192"/>
                  <a:pt x="247" y="175"/>
                  <a:pt x="267" y="175"/>
                </a:cubicBezTo>
                <a:cubicBezTo>
                  <a:pt x="287" y="175"/>
                  <a:pt x="303" y="192"/>
                  <a:pt x="303" y="212"/>
                </a:cubicBezTo>
                <a:cubicBezTo>
                  <a:pt x="303" y="232"/>
                  <a:pt x="287" y="248"/>
                  <a:pt x="267" y="248"/>
                </a:cubicBezTo>
                <a:close/>
                <a:moveTo>
                  <a:pt x="306" y="59"/>
                </a:moveTo>
                <a:cubicBezTo>
                  <a:pt x="302" y="56"/>
                  <a:pt x="297" y="55"/>
                  <a:pt x="292" y="55"/>
                </a:cubicBezTo>
                <a:cubicBezTo>
                  <a:pt x="277" y="55"/>
                  <a:pt x="266" y="66"/>
                  <a:pt x="266" y="81"/>
                </a:cubicBezTo>
                <a:cubicBezTo>
                  <a:pt x="266" y="90"/>
                  <a:pt x="271" y="99"/>
                  <a:pt x="278" y="103"/>
                </a:cubicBezTo>
                <a:cubicBezTo>
                  <a:pt x="282" y="106"/>
                  <a:pt x="287" y="107"/>
                  <a:pt x="292" y="107"/>
                </a:cubicBezTo>
                <a:cubicBezTo>
                  <a:pt x="306" y="107"/>
                  <a:pt x="318" y="95"/>
                  <a:pt x="318" y="81"/>
                </a:cubicBezTo>
                <a:cubicBezTo>
                  <a:pt x="318" y="72"/>
                  <a:pt x="314" y="64"/>
                  <a:pt x="306" y="59"/>
                </a:cubicBezTo>
                <a:close/>
                <a:moveTo>
                  <a:pt x="363" y="102"/>
                </a:moveTo>
                <a:cubicBezTo>
                  <a:pt x="357" y="99"/>
                  <a:pt x="357" y="99"/>
                  <a:pt x="357" y="99"/>
                </a:cubicBezTo>
                <a:cubicBezTo>
                  <a:pt x="359" y="89"/>
                  <a:pt x="360" y="79"/>
                  <a:pt x="358" y="69"/>
                </a:cubicBezTo>
                <a:cubicBezTo>
                  <a:pt x="364" y="67"/>
                  <a:pt x="364" y="67"/>
                  <a:pt x="364" y="67"/>
                </a:cubicBezTo>
                <a:cubicBezTo>
                  <a:pt x="370" y="65"/>
                  <a:pt x="373" y="58"/>
                  <a:pt x="371" y="52"/>
                </a:cubicBezTo>
                <a:cubicBezTo>
                  <a:pt x="369" y="46"/>
                  <a:pt x="363" y="43"/>
                  <a:pt x="357" y="45"/>
                </a:cubicBezTo>
                <a:cubicBezTo>
                  <a:pt x="350" y="48"/>
                  <a:pt x="350" y="48"/>
                  <a:pt x="350" y="48"/>
                </a:cubicBezTo>
                <a:cubicBezTo>
                  <a:pt x="345" y="39"/>
                  <a:pt x="338" y="32"/>
                  <a:pt x="330" y="26"/>
                </a:cubicBezTo>
                <a:cubicBezTo>
                  <a:pt x="333" y="20"/>
                  <a:pt x="333" y="20"/>
                  <a:pt x="333" y="20"/>
                </a:cubicBezTo>
                <a:cubicBezTo>
                  <a:pt x="335" y="16"/>
                  <a:pt x="334" y="11"/>
                  <a:pt x="332" y="8"/>
                </a:cubicBezTo>
                <a:cubicBezTo>
                  <a:pt x="331" y="7"/>
                  <a:pt x="329" y="5"/>
                  <a:pt x="328" y="5"/>
                </a:cubicBezTo>
                <a:cubicBezTo>
                  <a:pt x="322" y="2"/>
                  <a:pt x="315" y="4"/>
                  <a:pt x="313" y="10"/>
                </a:cubicBezTo>
                <a:cubicBezTo>
                  <a:pt x="310" y="16"/>
                  <a:pt x="310" y="16"/>
                  <a:pt x="310" y="16"/>
                </a:cubicBezTo>
                <a:cubicBezTo>
                  <a:pt x="300" y="14"/>
                  <a:pt x="290" y="13"/>
                  <a:pt x="280" y="15"/>
                </a:cubicBezTo>
                <a:cubicBezTo>
                  <a:pt x="278" y="9"/>
                  <a:pt x="278" y="9"/>
                  <a:pt x="278" y="9"/>
                </a:cubicBezTo>
                <a:cubicBezTo>
                  <a:pt x="276" y="3"/>
                  <a:pt x="269" y="0"/>
                  <a:pt x="263" y="2"/>
                </a:cubicBezTo>
                <a:cubicBezTo>
                  <a:pt x="257" y="4"/>
                  <a:pt x="254" y="10"/>
                  <a:pt x="256" y="16"/>
                </a:cubicBezTo>
                <a:cubicBezTo>
                  <a:pt x="259" y="23"/>
                  <a:pt x="259" y="23"/>
                  <a:pt x="259" y="23"/>
                </a:cubicBezTo>
                <a:cubicBezTo>
                  <a:pt x="250" y="28"/>
                  <a:pt x="243" y="35"/>
                  <a:pt x="237" y="43"/>
                </a:cubicBezTo>
                <a:cubicBezTo>
                  <a:pt x="231" y="40"/>
                  <a:pt x="231" y="40"/>
                  <a:pt x="231" y="40"/>
                </a:cubicBezTo>
                <a:cubicBezTo>
                  <a:pt x="225" y="37"/>
                  <a:pt x="218" y="40"/>
                  <a:pt x="216" y="45"/>
                </a:cubicBezTo>
                <a:cubicBezTo>
                  <a:pt x="213" y="51"/>
                  <a:pt x="215" y="58"/>
                  <a:pt x="221" y="60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25" y="73"/>
                  <a:pt x="224" y="83"/>
                  <a:pt x="226" y="93"/>
                </a:cubicBezTo>
                <a:cubicBezTo>
                  <a:pt x="220" y="95"/>
                  <a:pt x="220" y="95"/>
                  <a:pt x="220" y="95"/>
                </a:cubicBezTo>
                <a:cubicBezTo>
                  <a:pt x="214" y="97"/>
                  <a:pt x="211" y="104"/>
                  <a:pt x="213" y="110"/>
                </a:cubicBezTo>
                <a:cubicBezTo>
                  <a:pt x="215" y="116"/>
                  <a:pt x="221" y="119"/>
                  <a:pt x="227" y="116"/>
                </a:cubicBezTo>
                <a:cubicBezTo>
                  <a:pt x="234" y="114"/>
                  <a:pt x="234" y="114"/>
                  <a:pt x="234" y="114"/>
                </a:cubicBezTo>
                <a:cubicBezTo>
                  <a:pt x="238" y="122"/>
                  <a:pt x="245" y="129"/>
                  <a:pt x="252" y="135"/>
                </a:cubicBezTo>
                <a:cubicBezTo>
                  <a:pt x="253" y="135"/>
                  <a:pt x="253" y="136"/>
                  <a:pt x="254" y="136"/>
                </a:cubicBezTo>
                <a:cubicBezTo>
                  <a:pt x="251" y="142"/>
                  <a:pt x="251" y="142"/>
                  <a:pt x="251" y="142"/>
                </a:cubicBezTo>
                <a:cubicBezTo>
                  <a:pt x="248" y="148"/>
                  <a:pt x="251" y="155"/>
                  <a:pt x="256" y="157"/>
                </a:cubicBezTo>
                <a:cubicBezTo>
                  <a:pt x="262" y="160"/>
                  <a:pt x="269" y="157"/>
                  <a:pt x="271" y="152"/>
                </a:cubicBezTo>
                <a:cubicBezTo>
                  <a:pt x="274" y="146"/>
                  <a:pt x="274" y="146"/>
                  <a:pt x="274" y="146"/>
                </a:cubicBezTo>
                <a:cubicBezTo>
                  <a:pt x="284" y="148"/>
                  <a:pt x="294" y="149"/>
                  <a:pt x="304" y="147"/>
                </a:cubicBezTo>
                <a:cubicBezTo>
                  <a:pt x="306" y="153"/>
                  <a:pt x="306" y="153"/>
                  <a:pt x="306" y="153"/>
                </a:cubicBezTo>
                <a:cubicBezTo>
                  <a:pt x="308" y="159"/>
                  <a:pt x="315" y="162"/>
                  <a:pt x="321" y="160"/>
                </a:cubicBezTo>
                <a:cubicBezTo>
                  <a:pt x="327" y="158"/>
                  <a:pt x="330" y="151"/>
                  <a:pt x="327" y="146"/>
                </a:cubicBezTo>
                <a:cubicBezTo>
                  <a:pt x="325" y="139"/>
                  <a:pt x="325" y="139"/>
                  <a:pt x="325" y="139"/>
                </a:cubicBezTo>
                <a:cubicBezTo>
                  <a:pt x="334" y="134"/>
                  <a:pt x="341" y="127"/>
                  <a:pt x="347" y="119"/>
                </a:cubicBezTo>
                <a:cubicBezTo>
                  <a:pt x="353" y="122"/>
                  <a:pt x="353" y="122"/>
                  <a:pt x="353" y="122"/>
                </a:cubicBezTo>
                <a:cubicBezTo>
                  <a:pt x="359" y="125"/>
                  <a:pt x="366" y="122"/>
                  <a:pt x="368" y="117"/>
                </a:cubicBezTo>
                <a:cubicBezTo>
                  <a:pt x="371" y="111"/>
                  <a:pt x="368" y="104"/>
                  <a:pt x="363" y="102"/>
                </a:cubicBezTo>
                <a:close/>
                <a:moveTo>
                  <a:pt x="292" y="136"/>
                </a:moveTo>
                <a:cubicBezTo>
                  <a:pt x="280" y="136"/>
                  <a:pt x="269" y="132"/>
                  <a:pt x="260" y="125"/>
                </a:cubicBezTo>
                <a:cubicBezTo>
                  <a:pt x="246" y="116"/>
                  <a:pt x="237" y="99"/>
                  <a:pt x="237" y="81"/>
                </a:cubicBezTo>
                <a:cubicBezTo>
                  <a:pt x="237" y="51"/>
                  <a:pt x="262" y="26"/>
                  <a:pt x="292" y="26"/>
                </a:cubicBezTo>
                <a:cubicBezTo>
                  <a:pt x="302" y="26"/>
                  <a:pt x="312" y="29"/>
                  <a:pt x="320" y="34"/>
                </a:cubicBezTo>
                <a:cubicBezTo>
                  <a:pt x="336" y="43"/>
                  <a:pt x="347" y="61"/>
                  <a:pt x="347" y="81"/>
                </a:cubicBezTo>
                <a:cubicBezTo>
                  <a:pt x="347" y="111"/>
                  <a:pt x="322" y="136"/>
                  <a:pt x="292" y="136"/>
                </a:cubicBezTo>
                <a:close/>
                <a:moveTo>
                  <a:pt x="120" y="112"/>
                </a:moveTo>
                <a:cubicBezTo>
                  <a:pt x="99" y="112"/>
                  <a:pt x="82" y="128"/>
                  <a:pt x="82" y="149"/>
                </a:cubicBezTo>
                <a:cubicBezTo>
                  <a:pt x="82" y="169"/>
                  <a:pt x="99" y="186"/>
                  <a:pt x="120" y="186"/>
                </a:cubicBezTo>
                <a:cubicBezTo>
                  <a:pt x="140" y="186"/>
                  <a:pt x="157" y="169"/>
                  <a:pt x="157" y="149"/>
                </a:cubicBezTo>
                <a:cubicBezTo>
                  <a:pt x="157" y="128"/>
                  <a:pt x="140" y="112"/>
                  <a:pt x="120" y="112"/>
                </a:cubicBezTo>
                <a:close/>
                <a:moveTo>
                  <a:pt x="214" y="165"/>
                </a:moveTo>
                <a:cubicBezTo>
                  <a:pt x="223" y="165"/>
                  <a:pt x="223" y="165"/>
                  <a:pt x="223" y="165"/>
                </a:cubicBezTo>
                <a:cubicBezTo>
                  <a:pt x="232" y="165"/>
                  <a:pt x="240" y="158"/>
                  <a:pt x="240" y="149"/>
                </a:cubicBezTo>
                <a:cubicBezTo>
                  <a:pt x="240" y="148"/>
                  <a:pt x="240" y="148"/>
                  <a:pt x="240" y="148"/>
                </a:cubicBezTo>
                <a:cubicBezTo>
                  <a:pt x="239" y="139"/>
                  <a:pt x="232" y="133"/>
                  <a:pt x="223" y="133"/>
                </a:cubicBezTo>
                <a:cubicBezTo>
                  <a:pt x="214" y="133"/>
                  <a:pt x="214" y="133"/>
                  <a:pt x="214" y="133"/>
                </a:cubicBezTo>
                <a:cubicBezTo>
                  <a:pt x="211" y="118"/>
                  <a:pt x="206" y="105"/>
                  <a:pt x="197" y="94"/>
                </a:cubicBezTo>
                <a:cubicBezTo>
                  <a:pt x="204" y="87"/>
                  <a:pt x="204" y="87"/>
                  <a:pt x="204" y="87"/>
                </a:cubicBezTo>
                <a:cubicBezTo>
                  <a:pt x="211" y="80"/>
                  <a:pt x="211" y="70"/>
                  <a:pt x="204" y="64"/>
                </a:cubicBezTo>
                <a:cubicBezTo>
                  <a:pt x="198" y="58"/>
                  <a:pt x="188" y="58"/>
                  <a:pt x="182" y="64"/>
                </a:cubicBezTo>
                <a:cubicBezTo>
                  <a:pt x="175" y="71"/>
                  <a:pt x="175" y="71"/>
                  <a:pt x="175" y="71"/>
                </a:cubicBezTo>
                <a:cubicBezTo>
                  <a:pt x="163" y="63"/>
                  <a:pt x="150" y="57"/>
                  <a:pt x="136" y="55"/>
                </a:cubicBezTo>
                <a:cubicBezTo>
                  <a:pt x="136" y="45"/>
                  <a:pt x="136" y="45"/>
                  <a:pt x="136" y="45"/>
                </a:cubicBezTo>
                <a:cubicBezTo>
                  <a:pt x="136" y="36"/>
                  <a:pt x="129" y="29"/>
                  <a:pt x="120" y="29"/>
                </a:cubicBezTo>
                <a:cubicBezTo>
                  <a:pt x="111" y="29"/>
                  <a:pt x="103" y="36"/>
                  <a:pt x="103" y="45"/>
                </a:cubicBezTo>
                <a:cubicBezTo>
                  <a:pt x="103" y="55"/>
                  <a:pt x="103" y="55"/>
                  <a:pt x="103" y="55"/>
                </a:cubicBezTo>
                <a:cubicBezTo>
                  <a:pt x="89" y="57"/>
                  <a:pt x="76" y="63"/>
                  <a:pt x="65" y="71"/>
                </a:cubicBezTo>
                <a:cubicBezTo>
                  <a:pt x="58" y="64"/>
                  <a:pt x="58" y="64"/>
                  <a:pt x="58" y="64"/>
                </a:cubicBezTo>
                <a:cubicBezTo>
                  <a:pt x="51" y="58"/>
                  <a:pt x="41" y="58"/>
                  <a:pt x="35" y="64"/>
                </a:cubicBezTo>
                <a:cubicBezTo>
                  <a:pt x="28" y="70"/>
                  <a:pt x="28" y="80"/>
                  <a:pt x="35" y="87"/>
                </a:cubicBezTo>
                <a:cubicBezTo>
                  <a:pt x="42" y="94"/>
                  <a:pt x="42" y="94"/>
                  <a:pt x="42" y="94"/>
                </a:cubicBezTo>
                <a:cubicBezTo>
                  <a:pt x="34" y="105"/>
                  <a:pt x="28" y="118"/>
                  <a:pt x="26" y="133"/>
                </a:cubicBezTo>
                <a:cubicBezTo>
                  <a:pt x="16" y="133"/>
                  <a:pt x="16" y="133"/>
                  <a:pt x="16" y="133"/>
                </a:cubicBezTo>
                <a:cubicBezTo>
                  <a:pt x="7" y="133"/>
                  <a:pt x="0" y="140"/>
                  <a:pt x="0" y="149"/>
                </a:cubicBezTo>
                <a:cubicBezTo>
                  <a:pt x="0" y="158"/>
                  <a:pt x="7" y="165"/>
                  <a:pt x="16" y="165"/>
                </a:cubicBezTo>
                <a:cubicBezTo>
                  <a:pt x="26" y="165"/>
                  <a:pt x="26" y="165"/>
                  <a:pt x="26" y="165"/>
                </a:cubicBezTo>
                <a:cubicBezTo>
                  <a:pt x="28" y="179"/>
                  <a:pt x="34" y="192"/>
                  <a:pt x="42" y="204"/>
                </a:cubicBezTo>
                <a:cubicBezTo>
                  <a:pt x="35" y="211"/>
                  <a:pt x="35" y="211"/>
                  <a:pt x="35" y="211"/>
                </a:cubicBezTo>
                <a:cubicBezTo>
                  <a:pt x="28" y="217"/>
                  <a:pt x="28" y="227"/>
                  <a:pt x="35" y="234"/>
                </a:cubicBezTo>
                <a:cubicBezTo>
                  <a:pt x="41" y="240"/>
                  <a:pt x="51" y="240"/>
                  <a:pt x="58" y="234"/>
                </a:cubicBezTo>
                <a:cubicBezTo>
                  <a:pt x="65" y="227"/>
                  <a:pt x="65" y="227"/>
                  <a:pt x="65" y="227"/>
                </a:cubicBezTo>
                <a:cubicBezTo>
                  <a:pt x="72" y="232"/>
                  <a:pt x="81" y="236"/>
                  <a:pt x="90" y="239"/>
                </a:cubicBezTo>
                <a:cubicBezTo>
                  <a:pt x="94" y="241"/>
                  <a:pt x="99" y="242"/>
                  <a:pt x="103" y="243"/>
                </a:cubicBezTo>
                <a:cubicBezTo>
                  <a:pt x="103" y="253"/>
                  <a:pt x="103" y="253"/>
                  <a:pt x="103" y="253"/>
                </a:cubicBezTo>
                <a:cubicBezTo>
                  <a:pt x="103" y="262"/>
                  <a:pt x="111" y="269"/>
                  <a:pt x="120" y="269"/>
                </a:cubicBezTo>
                <a:cubicBezTo>
                  <a:pt x="129" y="269"/>
                  <a:pt x="136" y="262"/>
                  <a:pt x="136" y="253"/>
                </a:cubicBezTo>
                <a:cubicBezTo>
                  <a:pt x="136" y="243"/>
                  <a:pt x="136" y="243"/>
                  <a:pt x="136" y="243"/>
                </a:cubicBezTo>
                <a:cubicBezTo>
                  <a:pt x="150" y="240"/>
                  <a:pt x="163" y="235"/>
                  <a:pt x="175" y="227"/>
                </a:cubicBezTo>
                <a:cubicBezTo>
                  <a:pt x="182" y="234"/>
                  <a:pt x="182" y="234"/>
                  <a:pt x="182" y="234"/>
                </a:cubicBezTo>
                <a:cubicBezTo>
                  <a:pt x="188" y="240"/>
                  <a:pt x="198" y="240"/>
                  <a:pt x="204" y="234"/>
                </a:cubicBezTo>
                <a:cubicBezTo>
                  <a:pt x="211" y="227"/>
                  <a:pt x="211" y="217"/>
                  <a:pt x="204" y="211"/>
                </a:cubicBezTo>
                <a:cubicBezTo>
                  <a:pt x="197" y="204"/>
                  <a:pt x="197" y="204"/>
                  <a:pt x="197" y="204"/>
                </a:cubicBezTo>
                <a:cubicBezTo>
                  <a:pt x="204" y="194"/>
                  <a:pt x="209" y="184"/>
                  <a:pt x="212" y="172"/>
                </a:cubicBezTo>
                <a:cubicBezTo>
                  <a:pt x="213" y="170"/>
                  <a:pt x="213" y="167"/>
                  <a:pt x="214" y="165"/>
                </a:cubicBezTo>
                <a:close/>
                <a:moveTo>
                  <a:pt x="183" y="194"/>
                </a:moveTo>
                <a:cubicBezTo>
                  <a:pt x="169" y="213"/>
                  <a:pt x="148" y="225"/>
                  <a:pt x="123" y="226"/>
                </a:cubicBezTo>
                <a:cubicBezTo>
                  <a:pt x="122" y="226"/>
                  <a:pt x="121" y="226"/>
                  <a:pt x="120" y="226"/>
                </a:cubicBezTo>
                <a:cubicBezTo>
                  <a:pt x="77" y="226"/>
                  <a:pt x="42" y="192"/>
                  <a:pt x="42" y="149"/>
                </a:cubicBezTo>
                <a:cubicBezTo>
                  <a:pt x="42" y="106"/>
                  <a:pt x="77" y="71"/>
                  <a:pt x="120" y="71"/>
                </a:cubicBezTo>
                <a:cubicBezTo>
                  <a:pt x="162" y="71"/>
                  <a:pt x="197" y="106"/>
                  <a:pt x="197" y="149"/>
                </a:cubicBezTo>
                <a:cubicBezTo>
                  <a:pt x="197" y="166"/>
                  <a:pt x="192" y="181"/>
                  <a:pt x="183" y="1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CB2174B0-CD8A-D9C8-A4DF-9F38A19C0A01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74" name="object 3">
              <a:extLst>
                <a:ext uri="{FF2B5EF4-FFF2-40B4-BE49-F238E27FC236}">
                  <a16:creationId xmlns:a16="http://schemas.microsoft.com/office/drawing/2014/main" id="{9C0BEB40-5FDD-F556-274F-1D4241D0A7F4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object 2">
              <a:extLst>
                <a:ext uri="{FF2B5EF4-FFF2-40B4-BE49-F238E27FC236}">
                  <a16:creationId xmlns:a16="http://schemas.microsoft.com/office/drawing/2014/main" id="{FFD04B74-B8CB-B257-01B4-DD9AFD9162C5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76" name="Group 18">
            <a:extLst>
              <a:ext uri="{FF2B5EF4-FFF2-40B4-BE49-F238E27FC236}">
                <a16:creationId xmlns:a16="http://schemas.microsoft.com/office/drawing/2014/main" id="{1EED2151-AB88-C9BB-2C9E-28089A23A17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89208" y="292196"/>
            <a:ext cx="495299" cy="545328"/>
            <a:chOff x="2588" y="407"/>
            <a:chExt cx="594" cy="654"/>
          </a:xfrm>
        </p:grpSpPr>
        <p:sp>
          <p:nvSpPr>
            <p:cNvPr id="77" name="Freeform 19">
              <a:extLst>
                <a:ext uri="{FF2B5EF4-FFF2-40B4-BE49-F238E27FC236}">
                  <a16:creationId xmlns:a16="http://schemas.microsoft.com/office/drawing/2014/main" id="{1DCB794A-095E-9F60-D84C-7B624088D4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8" y="550"/>
              <a:ext cx="354" cy="511"/>
            </a:xfrm>
            <a:custGeom>
              <a:avLst/>
              <a:gdLst>
                <a:gd name="T0" fmla="*/ 193 w 236"/>
                <a:gd name="T1" fmla="*/ 183 h 341"/>
                <a:gd name="T2" fmla="*/ 215 w 236"/>
                <a:gd name="T3" fmla="*/ 147 h 341"/>
                <a:gd name="T4" fmla="*/ 150 w 236"/>
                <a:gd name="T5" fmla="*/ 7 h 341"/>
                <a:gd name="T6" fmla="*/ 112 w 236"/>
                <a:gd name="T7" fmla="*/ 0 h 341"/>
                <a:gd name="T8" fmla="*/ 112 w 236"/>
                <a:gd name="T9" fmla="*/ 0 h 341"/>
                <a:gd name="T10" fmla="*/ 10 w 236"/>
                <a:gd name="T11" fmla="*/ 72 h 341"/>
                <a:gd name="T12" fmla="*/ 11 w 236"/>
                <a:gd name="T13" fmla="*/ 151 h 341"/>
                <a:gd name="T14" fmla="*/ 15 w 236"/>
                <a:gd name="T15" fmla="*/ 160 h 341"/>
                <a:gd name="T16" fmla="*/ 31 w 236"/>
                <a:gd name="T17" fmla="*/ 183 h 341"/>
                <a:gd name="T18" fmla="*/ 56 w 236"/>
                <a:gd name="T19" fmla="*/ 231 h 341"/>
                <a:gd name="T20" fmla="*/ 56 w 236"/>
                <a:gd name="T21" fmla="*/ 244 h 341"/>
                <a:gd name="T22" fmla="*/ 46 w 236"/>
                <a:gd name="T23" fmla="*/ 262 h 341"/>
                <a:gd name="T24" fmla="*/ 46 w 236"/>
                <a:gd name="T25" fmla="*/ 274 h 341"/>
                <a:gd name="T26" fmla="*/ 46 w 236"/>
                <a:gd name="T27" fmla="*/ 292 h 341"/>
                <a:gd name="T28" fmla="*/ 53 w 236"/>
                <a:gd name="T29" fmla="*/ 308 h 341"/>
                <a:gd name="T30" fmla="*/ 65 w 236"/>
                <a:gd name="T31" fmla="*/ 319 h 341"/>
                <a:gd name="T32" fmla="*/ 76 w 236"/>
                <a:gd name="T33" fmla="*/ 325 h 341"/>
                <a:gd name="T34" fmla="*/ 107 w 236"/>
                <a:gd name="T35" fmla="*/ 341 h 341"/>
                <a:gd name="T36" fmla="*/ 117 w 236"/>
                <a:gd name="T37" fmla="*/ 341 h 341"/>
                <a:gd name="T38" fmla="*/ 148 w 236"/>
                <a:gd name="T39" fmla="*/ 325 h 341"/>
                <a:gd name="T40" fmla="*/ 158 w 236"/>
                <a:gd name="T41" fmla="*/ 319 h 341"/>
                <a:gd name="T42" fmla="*/ 170 w 236"/>
                <a:gd name="T43" fmla="*/ 308 h 341"/>
                <a:gd name="T44" fmla="*/ 177 w 236"/>
                <a:gd name="T45" fmla="*/ 292 h 341"/>
                <a:gd name="T46" fmla="*/ 177 w 236"/>
                <a:gd name="T47" fmla="*/ 274 h 341"/>
                <a:gd name="T48" fmla="*/ 177 w 236"/>
                <a:gd name="T49" fmla="*/ 262 h 341"/>
                <a:gd name="T50" fmla="*/ 168 w 236"/>
                <a:gd name="T51" fmla="*/ 245 h 341"/>
                <a:gd name="T52" fmla="*/ 168 w 236"/>
                <a:gd name="T53" fmla="*/ 231 h 341"/>
                <a:gd name="T54" fmla="*/ 193 w 236"/>
                <a:gd name="T55" fmla="*/ 183 h 341"/>
                <a:gd name="T56" fmla="*/ 156 w 236"/>
                <a:gd name="T57" fmla="*/ 274 h 341"/>
                <a:gd name="T58" fmla="*/ 156 w 236"/>
                <a:gd name="T59" fmla="*/ 292 h 341"/>
                <a:gd name="T60" fmla="*/ 156 w 236"/>
                <a:gd name="T61" fmla="*/ 293 h 341"/>
                <a:gd name="T62" fmla="*/ 144 w 236"/>
                <a:gd name="T63" fmla="*/ 304 h 341"/>
                <a:gd name="T64" fmla="*/ 143 w 236"/>
                <a:gd name="T65" fmla="*/ 304 h 341"/>
                <a:gd name="T66" fmla="*/ 133 w 236"/>
                <a:gd name="T67" fmla="*/ 304 h 341"/>
                <a:gd name="T68" fmla="*/ 132 w 236"/>
                <a:gd name="T69" fmla="*/ 305 h 341"/>
                <a:gd name="T70" fmla="*/ 132 w 236"/>
                <a:gd name="T71" fmla="*/ 307 h 341"/>
                <a:gd name="T72" fmla="*/ 117 w 236"/>
                <a:gd name="T73" fmla="*/ 320 h 341"/>
                <a:gd name="T74" fmla="*/ 107 w 236"/>
                <a:gd name="T75" fmla="*/ 320 h 341"/>
                <a:gd name="T76" fmla="*/ 92 w 236"/>
                <a:gd name="T77" fmla="*/ 307 h 341"/>
                <a:gd name="T78" fmla="*/ 92 w 236"/>
                <a:gd name="T79" fmla="*/ 305 h 341"/>
                <a:gd name="T80" fmla="*/ 91 w 236"/>
                <a:gd name="T81" fmla="*/ 304 h 341"/>
                <a:gd name="T82" fmla="*/ 80 w 236"/>
                <a:gd name="T83" fmla="*/ 304 h 341"/>
                <a:gd name="T84" fmla="*/ 79 w 236"/>
                <a:gd name="T85" fmla="*/ 304 h 341"/>
                <a:gd name="T86" fmla="*/ 68 w 236"/>
                <a:gd name="T87" fmla="*/ 293 h 341"/>
                <a:gd name="T88" fmla="*/ 67 w 236"/>
                <a:gd name="T89" fmla="*/ 292 h 341"/>
                <a:gd name="T90" fmla="*/ 67 w 236"/>
                <a:gd name="T91" fmla="*/ 274 h 341"/>
                <a:gd name="T92" fmla="*/ 67 w 236"/>
                <a:gd name="T93" fmla="*/ 264 h 341"/>
                <a:gd name="T94" fmla="*/ 67 w 236"/>
                <a:gd name="T95" fmla="*/ 262 h 341"/>
                <a:gd name="T96" fmla="*/ 68 w 236"/>
                <a:gd name="T97" fmla="*/ 262 h 341"/>
                <a:gd name="T98" fmla="*/ 155 w 236"/>
                <a:gd name="T99" fmla="*/ 262 h 341"/>
                <a:gd name="T100" fmla="*/ 156 w 236"/>
                <a:gd name="T101" fmla="*/ 262 h 341"/>
                <a:gd name="T102" fmla="*/ 156 w 236"/>
                <a:gd name="T103" fmla="*/ 264 h 341"/>
                <a:gd name="T104" fmla="*/ 156 w 236"/>
                <a:gd name="T105" fmla="*/ 274 h 341"/>
                <a:gd name="T106" fmla="*/ 184 w 236"/>
                <a:gd name="T107" fmla="*/ 136 h 341"/>
                <a:gd name="T108" fmla="*/ 140 w 236"/>
                <a:gd name="T109" fmla="*/ 180 h 341"/>
                <a:gd name="T110" fmla="*/ 135 w 236"/>
                <a:gd name="T111" fmla="*/ 180 h 341"/>
                <a:gd name="T112" fmla="*/ 156 w 236"/>
                <a:gd name="T113" fmla="*/ 149 h 341"/>
                <a:gd name="T114" fmla="*/ 110 w 236"/>
                <a:gd name="T115" fmla="*/ 50 h 341"/>
                <a:gd name="T116" fmla="*/ 69 w 236"/>
                <a:gd name="T117" fmla="*/ 46 h 341"/>
                <a:gd name="T118" fmla="*/ 112 w 236"/>
                <a:gd name="T119" fmla="*/ 33 h 341"/>
                <a:gd name="T120" fmla="*/ 138 w 236"/>
                <a:gd name="T121" fmla="*/ 38 h 341"/>
                <a:gd name="T122" fmla="*/ 181 w 236"/>
                <a:gd name="T123" fmla="*/ 77 h 341"/>
                <a:gd name="T124" fmla="*/ 184 w 236"/>
                <a:gd name="T125" fmla="*/ 13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341">
                  <a:moveTo>
                    <a:pt x="193" y="183"/>
                  </a:moveTo>
                  <a:cubicBezTo>
                    <a:pt x="202" y="173"/>
                    <a:pt x="210" y="161"/>
                    <a:pt x="215" y="147"/>
                  </a:cubicBezTo>
                  <a:cubicBezTo>
                    <a:pt x="236" y="91"/>
                    <a:pt x="207" y="28"/>
                    <a:pt x="150" y="7"/>
                  </a:cubicBezTo>
                  <a:cubicBezTo>
                    <a:pt x="137" y="2"/>
                    <a:pt x="125" y="0"/>
                    <a:pt x="112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68" y="0"/>
                    <a:pt x="26" y="28"/>
                    <a:pt x="10" y="72"/>
                  </a:cubicBezTo>
                  <a:cubicBezTo>
                    <a:pt x="0" y="98"/>
                    <a:pt x="1" y="126"/>
                    <a:pt x="11" y="151"/>
                  </a:cubicBezTo>
                  <a:cubicBezTo>
                    <a:pt x="12" y="154"/>
                    <a:pt x="13" y="157"/>
                    <a:pt x="15" y="160"/>
                  </a:cubicBezTo>
                  <a:cubicBezTo>
                    <a:pt x="19" y="168"/>
                    <a:pt x="25" y="176"/>
                    <a:pt x="31" y="183"/>
                  </a:cubicBezTo>
                  <a:cubicBezTo>
                    <a:pt x="36" y="189"/>
                    <a:pt x="49" y="208"/>
                    <a:pt x="56" y="231"/>
                  </a:cubicBezTo>
                  <a:cubicBezTo>
                    <a:pt x="56" y="244"/>
                    <a:pt x="56" y="244"/>
                    <a:pt x="56" y="244"/>
                  </a:cubicBezTo>
                  <a:cubicBezTo>
                    <a:pt x="50" y="248"/>
                    <a:pt x="46" y="255"/>
                    <a:pt x="46" y="262"/>
                  </a:cubicBezTo>
                  <a:cubicBezTo>
                    <a:pt x="46" y="274"/>
                    <a:pt x="46" y="274"/>
                    <a:pt x="46" y="274"/>
                  </a:cubicBezTo>
                  <a:cubicBezTo>
                    <a:pt x="46" y="292"/>
                    <a:pt x="46" y="292"/>
                    <a:pt x="46" y="292"/>
                  </a:cubicBezTo>
                  <a:cubicBezTo>
                    <a:pt x="46" y="298"/>
                    <a:pt x="49" y="304"/>
                    <a:pt x="53" y="308"/>
                  </a:cubicBezTo>
                  <a:cubicBezTo>
                    <a:pt x="65" y="319"/>
                    <a:pt x="65" y="319"/>
                    <a:pt x="65" y="319"/>
                  </a:cubicBezTo>
                  <a:cubicBezTo>
                    <a:pt x="68" y="322"/>
                    <a:pt x="72" y="324"/>
                    <a:pt x="76" y="325"/>
                  </a:cubicBezTo>
                  <a:cubicBezTo>
                    <a:pt x="82" y="335"/>
                    <a:pt x="94" y="341"/>
                    <a:pt x="107" y="341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30" y="341"/>
                    <a:pt x="142" y="334"/>
                    <a:pt x="148" y="325"/>
                  </a:cubicBezTo>
                  <a:cubicBezTo>
                    <a:pt x="152" y="324"/>
                    <a:pt x="155" y="322"/>
                    <a:pt x="158" y="319"/>
                  </a:cubicBezTo>
                  <a:cubicBezTo>
                    <a:pt x="170" y="308"/>
                    <a:pt x="170" y="308"/>
                    <a:pt x="170" y="308"/>
                  </a:cubicBezTo>
                  <a:cubicBezTo>
                    <a:pt x="174" y="304"/>
                    <a:pt x="177" y="298"/>
                    <a:pt x="177" y="292"/>
                  </a:cubicBezTo>
                  <a:cubicBezTo>
                    <a:pt x="177" y="274"/>
                    <a:pt x="177" y="274"/>
                    <a:pt x="177" y="274"/>
                  </a:cubicBezTo>
                  <a:cubicBezTo>
                    <a:pt x="177" y="262"/>
                    <a:pt x="177" y="262"/>
                    <a:pt x="177" y="262"/>
                  </a:cubicBezTo>
                  <a:cubicBezTo>
                    <a:pt x="177" y="255"/>
                    <a:pt x="173" y="249"/>
                    <a:pt x="168" y="245"/>
                  </a:cubicBezTo>
                  <a:cubicBezTo>
                    <a:pt x="168" y="231"/>
                    <a:pt x="168" y="231"/>
                    <a:pt x="168" y="231"/>
                  </a:cubicBezTo>
                  <a:cubicBezTo>
                    <a:pt x="175" y="208"/>
                    <a:pt x="188" y="190"/>
                    <a:pt x="193" y="183"/>
                  </a:cubicBezTo>
                  <a:close/>
                  <a:moveTo>
                    <a:pt x="156" y="274"/>
                  </a:moveTo>
                  <a:cubicBezTo>
                    <a:pt x="156" y="292"/>
                    <a:pt x="156" y="292"/>
                    <a:pt x="156" y="292"/>
                  </a:cubicBezTo>
                  <a:cubicBezTo>
                    <a:pt x="156" y="292"/>
                    <a:pt x="156" y="293"/>
                    <a:pt x="156" y="293"/>
                  </a:cubicBezTo>
                  <a:cubicBezTo>
                    <a:pt x="144" y="304"/>
                    <a:pt x="144" y="304"/>
                    <a:pt x="144" y="304"/>
                  </a:cubicBezTo>
                  <a:cubicBezTo>
                    <a:pt x="144" y="304"/>
                    <a:pt x="143" y="304"/>
                    <a:pt x="143" y="304"/>
                  </a:cubicBezTo>
                  <a:cubicBezTo>
                    <a:pt x="133" y="304"/>
                    <a:pt x="133" y="304"/>
                    <a:pt x="133" y="304"/>
                  </a:cubicBezTo>
                  <a:cubicBezTo>
                    <a:pt x="133" y="304"/>
                    <a:pt x="132" y="305"/>
                    <a:pt x="132" y="305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132" y="314"/>
                    <a:pt x="126" y="320"/>
                    <a:pt x="117" y="320"/>
                  </a:cubicBezTo>
                  <a:cubicBezTo>
                    <a:pt x="107" y="320"/>
                    <a:pt x="107" y="320"/>
                    <a:pt x="107" y="320"/>
                  </a:cubicBezTo>
                  <a:cubicBezTo>
                    <a:pt x="98" y="320"/>
                    <a:pt x="92" y="314"/>
                    <a:pt x="92" y="307"/>
                  </a:cubicBezTo>
                  <a:cubicBezTo>
                    <a:pt x="92" y="305"/>
                    <a:pt x="92" y="305"/>
                    <a:pt x="92" y="305"/>
                  </a:cubicBezTo>
                  <a:cubicBezTo>
                    <a:pt x="92" y="305"/>
                    <a:pt x="91" y="304"/>
                    <a:pt x="91" y="304"/>
                  </a:cubicBezTo>
                  <a:cubicBezTo>
                    <a:pt x="80" y="304"/>
                    <a:pt x="80" y="304"/>
                    <a:pt x="80" y="304"/>
                  </a:cubicBezTo>
                  <a:cubicBezTo>
                    <a:pt x="80" y="304"/>
                    <a:pt x="80" y="304"/>
                    <a:pt x="79" y="304"/>
                  </a:cubicBezTo>
                  <a:cubicBezTo>
                    <a:pt x="68" y="293"/>
                    <a:pt x="68" y="293"/>
                    <a:pt x="68" y="293"/>
                  </a:cubicBezTo>
                  <a:cubicBezTo>
                    <a:pt x="67" y="293"/>
                    <a:pt x="67" y="292"/>
                    <a:pt x="67" y="292"/>
                  </a:cubicBezTo>
                  <a:cubicBezTo>
                    <a:pt x="67" y="274"/>
                    <a:pt x="67" y="274"/>
                    <a:pt x="67" y="274"/>
                  </a:cubicBezTo>
                  <a:cubicBezTo>
                    <a:pt x="67" y="264"/>
                    <a:pt x="67" y="264"/>
                    <a:pt x="67" y="264"/>
                  </a:cubicBezTo>
                  <a:cubicBezTo>
                    <a:pt x="67" y="262"/>
                    <a:pt x="67" y="262"/>
                    <a:pt x="67" y="262"/>
                  </a:cubicBezTo>
                  <a:cubicBezTo>
                    <a:pt x="67" y="262"/>
                    <a:pt x="67" y="262"/>
                    <a:pt x="68" y="262"/>
                  </a:cubicBezTo>
                  <a:cubicBezTo>
                    <a:pt x="155" y="262"/>
                    <a:pt x="155" y="262"/>
                    <a:pt x="155" y="262"/>
                  </a:cubicBezTo>
                  <a:cubicBezTo>
                    <a:pt x="156" y="262"/>
                    <a:pt x="156" y="262"/>
                    <a:pt x="156" y="262"/>
                  </a:cubicBezTo>
                  <a:cubicBezTo>
                    <a:pt x="156" y="264"/>
                    <a:pt x="156" y="264"/>
                    <a:pt x="156" y="264"/>
                  </a:cubicBezTo>
                  <a:lnTo>
                    <a:pt x="156" y="274"/>
                  </a:lnTo>
                  <a:close/>
                  <a:moveTo>
                    <a:pt x="184" y="136"/>
                  </a:moveTo>
                  <a:cubicBezTo>
                    <a:pt x="176" y="157"/>
                    <a:pt x="160" y="173"/>
                    <a:pt x="140" y="180"/>
                  </a:cubicBezTo>
                  <a:cubicBezTo>
                    <a:pt x="135" y="180"/>
                    <a:pt x="135" y="180"/>
                    <a:pt x="135" y="180"/>
                  </a:cubicBezTo>
                  <a:cubicBezTo>
                    <a:pt x="144" y="172"/>
                    <a:pt x="152" y="162"/>
                    <a:pt x="156" y="149"/>
                  </a:cubicBezTo>
                  <a:cubicBezTo>
                    <a:pt x="171" y="109"/>
                    <a:pt x="150" y="65"/>
                    <a:pt x="110" y="50"/>
                  </a:cubicBezTo>
                  <a:cubicBezTo>
                    <a:pt x="97" y="45"/>
                    <a:pt x="83" y="44"/>
                    <a:pt x="69" y="46"/>
                  </a:cubicBezTo>
                  <a:cubicBezTo>
                    <a:pt x="82" y="38"/>
                    <a:pt x="97" y="33"/>
                    <a:pt x="112" y="33"/>
                  </a:cubicBezTo>
                  <a:cubicBezTo>
                    <a:pt x="121" y="33"/>
                    <a:pt x="130" y="35"/>
                    <a:pt x="138" y="38"/>
                  </a:cubicBezTo>
                  <a:cubicBezTo>
                    <a:pt x="158" y="45"/>
                    <a:pt x="173" y="59"/>
                    <a:pt x="181" y="77"/>
                  </a:cubicBezTo>
                  <a:cubicBezTo>
                    <a:pt x="190" y="96"/>
                    <a:pt x="191" y="117"/>
                    <a:pt x="184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Freeform 20">
              <a:extLst>
                <a:ext uri="{FF2B5EF4-FFF2-40B4-BE49-F238E27FC236}">
                  <a16:creationId xmlns:a16="http://schemas.microsoft.com/office/drawing/2014/main" id="{147AE5BE-3EF2-2ACF-8814-69C40147B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5" y="407"/>
              <a:ext cx="42" cy="95"/>
            </a:xfrm>
            <a:custGeom>
              <a:avLst/>
              <a:gdLst>
                <a:gd name="T0" fmla="*/ 28 w 28"/>
                <a:gd name="T1" fmla="*/ 49 h 63"/>
                <a:gd name="T2" fmla="*/ 28 w 28"/>
                <a:gd name="T3" fmla="*/ 14 h 63"/>
                <a:gd name="T4" fmla="*/ 14 w 28"/>
                <a:gd name="T5" fmla="*/ 0 h 63"/>
                <a:gd name="T6" fmla="*/ 0 w 28"/>
                <a:gd name="T7" fmla="*/ 14 h 63"/>
                <a:gd name="T8" fmla="*/ 0 w 28"/>
                <a:gd name="T9" fmla="*/ 49 h 63"/>
                <a:gd name="T10" fmla="*/ 14 w 28"/>
                <a:gd name="T11" fmla="*/ 63 h 63"/>
                <a:gd name="T12" fmla="*/ 28 w 28"/>
                <a:gd name="T13" fmla="*/ 4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63">
                  <a:moveTo>
                    <a:pt x="28" y="49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6" y="0"/>
                    <a:pt x="0" y="7"/>
                    <a:pt x="0" y="1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6" y="63"/>
                    <a:pt x="14" y="63"/>
                  </a:cubicBezTo>
                  <a:cubicBezTo>
                    <a:pt x="22" y="63"/>
                    <a:pt x="28" y="57"/>
                    <a:pt x="28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Freeform 21">
              <a:extLst>
                <a:ext uri="{FF2B5EF4-FFF2-40B4-BE49-F238E27FC236}">
                  <a16:creationId xmlns:a16="http://schemas.microsoft.com/office/drawing/2014/main" id="{E93A436B-8643-8AD9-E8AC-9F566825EA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" y="521"/>
              <a:ext cx="90" cy="75"/>
            </a:xfrm>
            <a:custGeom>
              <a:avLst/>
              <a:gdLst>
                <a:gd name="T0" fmla="*/ 55 w 60"/>
                <a:gd name="T1" fmla="*/ 7 h 50"/>
                <a:gd name="T2" fmla="*/ 36 w 60"/>
                <a:gd name="T3" fmla="*/ 4 h 50"/>
                <a:gd name="T4" fmla="*/ 8 w 60"/>
                <a:gd name="T5" fmla="*/ 25 h 50"/>
                <a:gd name="T6" fmla="*/ 5 w 60"/>
                <a:gd name="T7" fmla="*/ 44 h 50"/>
                <a:gd name="T8" fmla="*/ 16 w 60"/>
                <a:gd name="T9" fmla="*/ 50 h 50"/>
                <a:gd name="T10" fmla="*/ 24 w 60"/>
                <a:gd name="T11" fmla="*/ 47 h 50"/>
                <a:gd name="T12" fmla="*/ 52 w 60"/>
                <a:gd name="T13" fmla="*/ 27 h 50"/>
                <a:gd name="T14" fmla="*/ 55 w 60"/>
                <a:gd name="T15" fmla="*/ 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55" y="7"/>
                  </a:moveTo>
                  <a:cubicBezTo>
                    <a:pt x="51" y="1"/>
                    <a:pt x="42" y="0"/>
                    <a:pt x="36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" y="30"/>
                    <a:pt x="0" y="38"/>
                    <a:pt x="5" y="44"/>
                  </a:cubicBezTo>
                  <a:cubicBezTo>
                    <a:pt x="7" y="48"/>
                    <a:pt x="12" y="50"/>
                    <a:pt x="16" y="50"/>
                  </a:cubicBezTo>
                  <a:cubicBezTo>
                    <a:pt x="19" y="50"/>
                    <a:pt x="22" y="49"/>
                    <a:pt x="24" y="4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8" y="22"/>
                    <a:pt x="60" y="13"/>
                    <a:pt x="55" y="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Freeform 22">
              <a:extLst>
                <a:ext uri="{FF2B5EF4-FFF2-40B4-BE49-F238E27FC236}">
                  <a16:creationId xmlns:a16="http://schemas.microsoft.com/office/drawing/2014/main" id="{D60B1A1B-72F6-D90C-7D9F-076E87874C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5" y="758"/>
              <a:ext cx="97" cy="60"/>
            </a:xfrm>
            <a:custGeom>
              <a:avLst/>
              <a:gdLst>
                <a:gd name="T0" fmla="*/ 2 w 65"/>
                <a:gd name="T1" fmla="*/ 12 h 40"/>
                <a:gd name="T2" fmla="*/ 11 w 65"/>
                <a:gd name="T3" fmla="*/ 29 h 40"/>
                <a:gd name="T4" fmla="*/ 45 w 65"/>
                <a:gd name="T5" fmla="*/ 39 h 40"/>
                <a:gd name="T6" fmla="*/ 49 w 65"/>
                <a:gd name="T7" fmla="*/ 40 h 40"/>
                <a:gd name="T8" fmla="*/ 62 w 65"/>
                <a:gd name="T9" fmla="*/ 30 h 40"/>
                <a:gd name="T10" fmla="*/ 53 w 65"/>
                <a:gd name="T11" fmla="*/ 13 h 40"/>
                <a:gd name="T12" fmla="*/ 20 w 65"/>
                <a:gd name="T13" fmla="*/ 2 h 40"/>
                <a:gd name="T14" fmla="*/ 2 w 65"/>
                <a:gd name="T15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2" y="12"/>
                  </a:moveTo>
                  <a:cubicBezTo>
                    <a:pt x="0" y="19"/>
                    <a:pt x="4" y="27"/>
                    <a:pt x="11" y="2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40"/>
                    <a:pt x="48" y="40"/>
                    <a:pt x="49" y="40"/>
                  </a:cubicBezTo>
                  <a:cubicBezTo>
                    <a:pt x="55" y="40"/>
                    <a:pt x="60" y="36"/>
                    <a:pt x="62" y="30"/>
                  </a:cubicBezTo>
                  <a:cubicBezTo>
                    <a:pt x="65" y="23"/>
                    <a:pt x="60" y="15"/>
                    <a:pt x="53" y="1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2" y="0"/>
                    <a:pt x="4" y="4"/>
                    <a:pt x="2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Freeform 23">
              <a:extLst>
                <a:ext uri="{FF2B5EF4-FFF2-40B4-BE49-F238E27FC236}">
                  <a16:creationId xmlns:a16="http://schemas.microsoft.com/office/drawing/2014/main" id="{CF227D85-C0A0-9EC4-CD6B-5097FD0AD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1" y="521"/>
              <a:ext cx="90" cy="75"/>
            </a:xfrm>
            <a:custGeom>
              <a:avLst/>
              <a:gdLst>
                <a:gd name="T0" fmla="*/ 7 w 60"/>
                <a:gd name="T1" fmla="*/ 27 h 50"/>
                <a:gd name="T2" fmla="*/ 36 w 60"/>
                <a:gd name="T3" fmla="*/ 47 h 50"/>
                <a:gd name="T4" fmla="*/ 44 w 60"/>
                <a:gd name="T5" fmla="*/ 50 h 50"/>
                <a:gd name="T6" fmla="*/ 55 w 60"/>
                <a:gd name="T7" fmla="*/ 44 h 50"/>
                <a:gd name="T8" fmla="*/ 52 w 60"/>
                <a:gd name="T9" fmla="*/ 25 h 50"/>
                <a:gd name="T10" fmla="*/ 24 w 60"/>
                <a:gd name="T11" fmla="*/ 4 h 50"/>
                <a:gd name="T12" fmla="*/ 5 w 60"/>
                <a:gd name="T13" fmla="*/ 7 h 50"/>
                <a:gd name="T14" fmla="*/ 7 w 60"/>
                <a:gd name="T15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7" y="2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8" y="49"/>
                    <a:pt x="41" y="50"/>
                    <a:pt x="44" y="50"/>
                  </a:cubicBezTo>
                  <a:cubicBezTo>
                    <a:pt x="48" y="50"/>
                    <a:pt x="52" y="48"/>
                    <a:pt x="55" y="44"/>
                  </a:cubicBezTo>
                  <a:cubicBezTo>
                    <a:pt x="60" y="38"/>
                    <a:pt x="58" y="30"/>
                    <a:pt x="52" y="25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18" y="0"/>
                    <a:pt x="9" y="1"/>
                    <a:pt x="5" y="7"/>
                  </a:cubicBezTo>
                  <a:cubicBezTo>
                    <a:pt x="0" y="13"/>
                    <a:pt x="1" y="22"/>
                    <a:pt x="7" y="2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Freeform 24">
              <a:extLst>
                <a:ext uri="{FF2B5EF4-FFF2-40B4-BE49-F238E27FC236}">
                  <a16:creationId xmlns:a16="http://schemas.microsoft.com/office/drawing/2014/main" id="{8417B01E-DEA0-B170-8207-36B20BB2D7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758"/>
              <a:ext cx="97" cy="60"/>
            </a:xfrm>
            <a:custGeom>
              <a:avLst/>
              <a:gdLst>
                <a:gd name="T0" fmla="*/ 16 w 65"/>
                <a:gd name="T1" fmla="*/ 40 h 40"/>
                <a:gd name="T2" fmla="*/ 20 w 65"/>
                <a:gd name="T3" fmla="*/ 39 h 40"/>
                <a:gd name="T4" fmla="*/ 53 w 65"/>
                <a:gd name="T5" fmla="*/ 29 h 40"/>
                <a:gd name="T6" fmla="*/ 63 w 65"/>
                <a:gd name="T7" fmla="*/ 12 h 40"/>
                <a:gd name="T8" fmla="*/ 45 w 65"/>
                <a:gd name="T9" fmla="*/ 2 h 40"/>
                <a:gd name="T10" fmla="*/ 12 w 65"/>
                <a:gd name="T11" fmla="*/ 13 h 40"/>
                <a:gd name="T12" fmla="*/ 2 w 65"/>
                <a:gd name="T13" fmla="*/ 30 h 40"/>
                <a:gd name="T14" fmla="*/ 16 w 65"/>
                <a:gd name="T1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16" y="40"/>
                  </a:moveTo>
                  <a:cubicBezTo>
                    <a:pt x="17" y="40"/>
                    <a:pt x="18" y="40"/>
                    <a:pt x="20" y="3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61" y="27"/>
                    <a:pt x="65" y="19"/>
                    <a:pt x="63" y="12"/>
                  </a:cubicBezTo>
                  <a:cubicBezTo>
                    <a:pt x="60" y="4"/>
                    <a:pt x="52" y="0"/>
                    <a:pt x="45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4" y="15"/>
                    <a:pt x="0" y="23"/>
                    <a:pt x="2" y="30"/>
                  </a:cubicBezTo>
                  <a:cubicBezTo>
                    <a:pt x="4" y="36"/>
                    <a:pt x="10" y="40"/>
                    <a:pt x="16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83" name="Picture 82">
            <a:extLst>
              <a:ext uri="{FF2B5EF4-FFF2-40B4-BE49-F238E27FC236}">
                <a16:creationId xmlns:a16="http://schemas.microsoft.com/office/drawing/2014/main" id="{0B759EAB-3937-666A-3BD1-24D60C775AE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79543" b="5005"/>
          <a:stretch/>
        </p:blipFill>
        <p:spPr>
          <a:xfrm>
            <a:off x="487548" y="1474281"/>
            <a:ext cx="3405834" cy="4174370"/>
          </a:xfrm>
          <a:prstGeom prst="rect">
            <a:avLst/>
          </a:prstGeom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id="{5CC4283E-7033-BFF1-2C0F-5152A8E5609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9908" r="17180" b="5170"/>
          <a:stretch/>
        </p:blipFill>
        <p:spPr>
          <a:xfrm>
            <a:off x="8000449" y="1523300"/>
            <a:ext cx="3766505" cy="4114617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047E8ADF-7970-7853-4361-0F13D9AC97D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9868" r="39923" b="5170"/>
          <a:stretch/>
        </p:blipFill>
        <p:spPr>
          <a:xfrm>
            <a:off x="4270398" y="1495825"/>
            <a:ext cx="3353035" cy="4152825"/>
          </a:xfrm>
          <a:prstGeom prst="rect">
            <a:avLst/>
          </a:prstGeom>
        </p:spPr>
      </p:pic>
      <p:sp>
        <p:nvSpPr>
          <p:cNvPr id="90" name="Rectangle 89">
            <a:extLst>
              <a:ext uri="{FF2B5EF4-FFF2-40B4-BE49-F238E27FC236}">
                <a16:creationId xmlns:a16="http://schemas.microsoft.com/office/drawing/2014/main" id="{0DE3C910-3C5B-2460-0065-6109DC4011D4}"/>
              </a:ext>
            </a:extLst>
          </p:cNvPr>
          <p:cNvSpPr/>
          <p:nvPr/>
        </p:nvSpPr>
        <p:spPr bwMode="gray">
          <a:xfrm>
            <a:off x="11350541" y="1735736"/>
            <a:ext cx="416414" cy="386787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7088722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5D68612-F8C4-E935-E7C5-7AFEA283EB8C}"/>
              </a:ext>
            </a:extLst>
          </p:cNvPr>
          <p:cNvSpPr/>
          <p:nvPr/>
        </p:nvSpPr>
        <p:spPr bwMode="gray">
          <a:xfrm>
            <a:off x="536114" y="2005680"/>
            <a:ext cx="5219559" cy="4548886"/>
          </a:xfrm>
          <a:prstGeom prst="rect">
            <a:avLst/>
          </a:prstGeom>
          <a:solidFill>
            <a:srgbClr val="0BD0D9">
              <a:alpha val="15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3BC8A91-5A7A-43B0-9AEC-E8EFEC1F9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64" y="303434"/>
            <a:ext cx="11252200" cy="334102"/>
          </a:xfrm>
        </p:spPr>
        <p:txBody>
          <a:bodyPr/>
          <a:lstStyle/>
          <a:p>
            <a:r>
              <a:rPr lang="en-US" sz="3200" b="1" spc="-75" dirty="0">
                <a:solidFill>
                  <a:srgbClr val="000000"/>
                </a:solidFill>
                <a:latin typeface="Chronicle Display Semi" pitchFamily="50" charset="0"/>
              </a:rPr>
              <a:t>Determining How to Use Our Model: Leverage EDA (Cont’d)</a:t>
            </a:r>
            <a:endParaRPr lang="en-US" sz="1800" b="1" dirty="0">
              <a:latin typeface="Chronicle Display Semi"/>
            </a:endParaRP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D80AC6C-BFC0-5C10-5B04-554CBA448269}"/>
              </a:ext>
            </a:extLst>
          </p:cNvPr>
          <p:cNvSpPr txBox="1">
            <a:spLocks/>
          </p:cNvSpPr>
          <p:nvPr/>
        </p:nvSpPr>
        <p:spPr>
          <a:xfrm>
            <a:off x="306244" y="183668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787878">
                    <a:lumMod val="60000"/>
                    <a:lumOff val="40000"/>
                  </a:srgbClr>
                </a:solidFill>
                <a:latin typeface="Open Sans"/>
              </a:rPr>
              <a:t>INSIGHT 2</a:t>
            </a:r>
            <a:endParaRPr kumimoji="0" lang="en-US" sz="900" b="1" i="0" u="none" strike="noStrike" kern="0" cap="all" spc="250" normalizeH="0" baseline="0" noProof="0" dirty="0">
              <a:ln>
                <a:noFill/>
              </a:ln>
              <a:solidFill>
                <a:srgbClr val="787878">
                  <a:lumMod val="60000"/>
                  <a:lumOff val="40000"/>
                </a:srgbClr>
              </a:solidFill>
              <a:effectLst/>
              <a:uLnTx/>
              <a:uFillTx/>
              <a:latin typeface="Open Sans"/>
            </a:endParaRPr>
          </a:p>
        </p:txBody>
      </p:sp>
      <p:sp>
        <p:nvSpPr>
          <p:cNvPr id="12" name="Arrow: Chevron 11">
            <a:extLst>
              <a:ext uri="{FF2B5EF4-FFF2-40B4-BE49-F238E27FC236}">
                <a16:creationId xmlns:a16="http://schemas.microsoft.com/office/drawing/2014/main" id="{838D9FE7-670D-9741-CA56-A1A5E16FB866}"/>
              </a:ext>
            </a:extLst>
          </p:cNvPr>
          <p:cNvSpPr/>
          <p:nvPr/>
        </p:nvSpPr>
        <p:spPr bwMode="gray">
          <a:xfrm>
            <a:off x="2121829" y="159189"/>
            <a:ext cx="306368" cy="193889"/>
          </a:xfrm>
          <a:prstGeom prst="chevron">
            <a:avLst>
              <a:gd name="adj" fmla="val 32256"/>
            </a:avLst>
          </a:prstGeom>
          <a:solidFill>
            <a:srgbClr val="D0D0CE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15" name="Arrow: Chevron 14">
            <a:extLst>
              <a:ext uri="{FF2B5EF4-FFF2-40B4-BE49-F238E27FC236}">
                <a16:creationId xmlns:a16="http://schemas.microsoft.com/office/drawing/2014/main" id="{6DE12A58-D6A4-7FD7-06BC-5D8DB5FFB415}"/>
              </a:ext>
            </a:extLst>
          </p:cNvPr>
          <p:cNvSpPr/>
          <p:nvPr/>
        </p:nvSpPr>
        <p:spPr bwMode="gray">
          <a:xfrm>
            <a:off x="2408319" y="153822"/>
            <a:ext cx="306368" cy="193889"/>
          </a:xfrm>
          <a:prstGeom prst="chevron">
            <a:avLst>
              <a:gd name="adj" fmla="val 32256"/>
            </a:avLst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000" b="1" dirty="0">
              <a:solidFill>
                <a:srgbClr val="FFFFFF"/>
              </a:solidFill>
              <a:latin typeface="Open Sans"/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5F622B8F-3F55-E347-928D-6902689E0608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70" name="object 3">
              <a:extLst>
                <a:ext uri="{FF2B5EF4-FFF2-40B4-BE49-F238E27FC236}">
                  <a16:creationId xmlns:a16="http://schemas.microsoft.com/office/drawing/2014/main" id="{CBCA03A3-2589-9AAB-6EE5-4F9DF99C581C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object 2">
              <a:extLst>
                <a:ext uri="{FF2B5EF4-FFF2-40B4-BE49-F238E27FC236}">
                  <a16:creationId xmlns:a16="http://schemas.microsoft.com/office/drawing/2014/main" id="{409F2714-3E23-15A5-8FD1-AFFCDBE09D22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72" name="Freeform 38">
            <a:extLst>
              <a:ext uri="{FF2B5EF4-FFF2-40B4-BE49-F238E27FC236}">
                <a16:creationId xmlns:a16="http://schemas.microsoft.com/office/drawing/2014/main" id="{A11CDB20-BE7B-01E9-E557-94EA3C13E369}"/>
              </a:ext>
            </a:extLst>
          </p:cNvPr>
          <p:cNvSpPr>
            <a:spLocks noEditPoints="1"/>
          </p:cNvSpPr>
          <p:nvPr/>
        </p:nvSpPr>
        <p:spPr bwMode="auto">
          <a:xfrm>
            <a:off x="11119250" y="339257"/>
            <a:ext cx="597770" cy="451205"/>
          </a:xfrm>
          <a:custGeom>
            <a:avLst/>
            <a:gdLst>
              <a:gd name="T0" fmla="*/ 267 w 373"/>
              <a:gd name="T1" fmla="*/ 229 h 269"/>
              <a:gd name="T2" fmla="*/ 319 w 373"/>
              <a:gd name="T3" fmla="*/ 192 h 269"/>
              <a:gd name="T4" fmla="*/ 292 w 373"/>
              <a:gd name="T5" fmla="*/ 175 h 269"/>
              <a:gd name="T6" fmla="*/ 280 w 373"/>
              <a:gd name="T7" fmla="*/ 164 h 269"/>
              <a:gd name="T8" fmla="*/ 257 w 373"/>
              <a:gd name="T9" fmla="*/ 163 h 269"/>
              <a:gd name="T10" fmla="*/ 244 w 373"/>
              <a:gd name="T11" fmla="*/ 173 h 269"/>
              <a:gd name="T12" fmla="*/ 216 w 373"/>
              <a:gd name="T13" fmla="*/ 188 h 269"/>
              <a:gd name="T14" fmla="*/ 223 w 373"/>
              <a:gd name="T15" fmla="*/ 219 h 269"/>
              <a:gd name="T16" fmla="*/ 223 w 373"/>
              <a:gd name="T17" fmla="*/ 235 h 269"/>
              <a:gd name="T18" fmla="*/ 239 w 373"/>
              <a:gd name="T19" fmla="*/ 252 h 269"/>
              <a:gd name="T20" fmla="*/ 255 w 373"/>
              <a:gd name="T21" fmla="*/ 255 h 269"/>
              <a:gd name="T22" fmla="*/ 286 w 373"/>
              <a:gd name="T23" fmla="*/ 264 h 269"/>
              <a:gd name="T24" fmla="*/ 303 w 373"/>
              <a:gd name="T25" fmla="*/ 237 h 269"/>
              <a:gd name="T26" fmla="*/ 314 w 373"/>
              <a:gd name="T27" fmla="*/ 225 h 269"/>
              <a:gd name="T28" fmla="*/ 315 w 373"/>
              <a:gd name="T29" fmla="*/ 202 h 269"/>
              <a:gd name="T30" fmla="*/ 230 w 373"/>
              <a:gd name="T31" fmla="*/ 212 h 269"/>
              <a:gd name="T32" fmla="*/ 267 w 373"/>
              <a:gd name="T33" fmla="*/ 248 h 269"/>
              <a:gd name="T34" fmla="*/ 266 w 373"/>
              <a:gd name="T35" fmla="*/ 81 h 269"/>
              <a:gd name="T36" fmla="*/ 318 w 373"/>
              <a:gd name="T37" fmla="*/ 81 h 269"/>
              <a:gd name="T38" fmla="*/ 357 w 373"/>
              <a:gd name="T39" fmla="*/ 99 h 269"/>
              <a:gd name="T40" fmla="*/ 371 w 373"/>
              <a:gd name="T41" fmla="*/ 52 h 269"/>
              <a:gd name="T42" fmla="*/ 330 w 373"/>
              <a:gd name="T43" fmla="*/ 26 h 269"/>
              <a:gd name="T44" fmla="*/ 328 w 373"/>
              <a:gd name="T45" fmla="*/ 5 h 269"/>
              <a:gd name="T46" fmla="*/ 280 w 373"/>
              <a:gd name="T47" fmla="*/ 15 h 269"/>
              <a:gd name="T48" fmla="*/ 256 w 373"/>
              <a:gd name="T49" fmla="*/ 16 h 269"/>
              <a:gd name="T50" fmla="*/ 231 w 373"/>
              <a:gd name="T51" fmla="*/ 40 h 269"/>
              <a:gd name="T52" fmla="*/ 227 w 373"/>
              <a:gd name="T53" fmla="*/ 63 h 269"/>
              <a:gd name="T54" fmla="*/ 213 w 373"/>
              <a:gd name="T55" fmla="*/ 110 h 269"/>
              <a:gd name="T56" fmla="*/ 252 w 373"/>
              <a:gd name="T57" fmla="*/ 135 h 269"/>
              <a:gd name="T58" fmla="*/ 256 w 373"/>
              <a:gd name="T59" fmla="*/ 157 h 269"/>
              <a:gd name="T60" fmla="*/ 304 w 373"/>
              <a:gd name="T61" fmla="*/ 147 h 269"/>
              <a:gd name="T62" fmla="*/ 327 w 373"/>
              <a:gd name="T63" fmla="*/ 146 h 269"/>
              <a:gd name="T64" fmla="*/ 353 w 373"/>
              <a:gd name="T65" fmla="*/ 122 h 269"/>
              <a:gd name="T66" fmla="*/ 292 w 373"/>
              <a:gd name="T67" fmla="*/ 136 h 269"/>
              <a:gd name="T68" fmla="*/ 292 w 373"/>
              <a:gd name="T69" fmla="*/ 26 h 269"/>
              <a:gd name="T70" fmla="*/ 292 w 373"/>
              <a:gd name="T71" fmla="*/ 136 h 269"/>
              <a:gd name="T72" fmla="*/ 120 w 373"/>
              <a:gd name="T73" fmla="*/ 186 h 269"/>
              <a:gd name="T74" fmla="*/ 214 w 373"/>
              <a:gd name="T75" fmla="*/ 165 h 269"/>
              <a:gd name="T76" fmla="*/ 240 w 373"/>
              <a:gd name="T77" fmla="*/ 148 h 269"/>
              <a:gd name="T78" fmla="*/ 197 w 373"/>
              <a:gd name="T79" fmla="*/ 94 h 269"/>
              <a:gd name="T80" fmla="*/ 182 w 373"/>
              <a:gd name="T81" fmla="*/ 64 h 269"/>
              <a:gd name="T82" fmla="*/ 136 w 373"/>
              <a:gd name="T83" fmla="*/ 45 h 269"/>
              <a:gd name="T84" fmla="*/ 103 w 373"/>
              <a:gd name="T85" fmla="*/ 55 h 269"/>
              <a:gd name="T86" fmla="*/ 35 w 373"/>
              <a:gd name="T87" fmla="*/ 64 h 269"/>
              <a:gd name="T88" fmla="*/ 26 w 373"/>
              <a:gd name="T89" fmla="*/ 133 h 269"/>
              <a:gd name="T90" fmla="*/ 16 w 373"/>
              <a:gd name="T91" fmla="*/ 165 h 269"/>
              <a:gd name="T92" fmla="*/ 35 w 373"/>
              <a:gd name="T93" fmla="*/ 211 h 269"/>
              <a:gd name="T94" fmla="*/ 65 w 373"/>
              <a:gd name="T95" fmla="*/ 227 h 269"/>
              <a:gd name="T96" fmla="*/ 103 w 373"/>
              <a:gd name="T97" fmla="*/ 253 h 269"/>
              <a:gd name="T98" fmla="*/ 136 w 373"/>
              <a:gd name="T99" fmla="*/ 243 h 269"/>
              <a:gd name="T100" fmla="*/ 204 w 373"/>
              <a:gd name="T101" fmla="*/ 234 h 269"/>
              <a:gd name="T102" fmla="*/ 212 w 373"/>
              <a:gd name="T103" fmla="*/ 172 h 269"/>
              <a:gd name="T104" fmla="*/ 123 w 373"/>
              <a:gd name="T105" fmla="*/ 226 h 269"/>
              <a:gd name="T106" fmla="*/ 120 w 373"/>
              <a:gd name="T107" fmla="*/ 71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73" h="269">
                <a:moveTo>
                  <a:pt x="267" y="194"/>
                </a:moveTo>
                <a:cubicBezTo>
                  <a:pt x="257" y="194"/>
                  <a:pt x="249" y="202"/>
                  <a:pt x="249" y="212"/>
                </a:cubicBezTo>
                <a:cubicBezTo>
                  <a:pt x="249" y="221"/>
                  <a:pt x="257" y="229"/>
                  <a:pt x="267" y="229"/>
                </a:cubicBezTo>
                <a:cubicBezTo>
                  <a:pt x="276" y="229"/>
                  <a:pt x="284" y="221"/>
                  <a:pt x="284" y="212"/>
                </a:cubicBezTo>
                <a:cubicBezTo>
                  <a:pt x="284" y="202"/>
                  <a:pt x="276" y="194"/>
                  <a:pt x="267" y="194"/>
                </a:cubicBezTo>
                <a:close/>
                <a:moveTo>
                  <a:pt x="319" y="192"/>
                </a:moveTo>
                <a:cubicBezTo>
                  <a:pt x="318" y="188"/>
                  <a:pt x="314" y="186"/>
                  <a:pt x="310" y="188"/>
                </a:cubicBezTo>
                <a:cubicBezTo>
                  <a:pt x="305" y="189"/>
                  <a:pt x="305" y="189"/>
                  <a:pt x="305" y="189"/>
                </a:cubicBezTo>
                <a:cubicBezTo>
                  <a:pt x="302" y="184"/>
                  <a:pt x="297" y="179"/>
                  <a:pt x="292" y="175"/>
                </a:cubicBezTo>
                <a:cubicBezTo>
                  <a:pt x="294" y="171"/>
                  <a:pt x="294" y="171"/>
                  <a:pt x="294" y="171"/>
                </a:cubicBezTo>
                <a:cubicBezTo>
                  <a:pt x="296" y="167"/>
                  <a:pt x="294" y="162"/>
                  <a:pt x="290" y="161"/>
                </a:cubicBezTo>
                <a:cubicBezTo>
                  <a:pt x="287" y="159"/>
                  <a:pt x="282" y="161"/>
                  <a:pt x="280" y="164"/>
                </a:cubicBezTo>
                <a:cubicBezTo>
                  <a:pt x="278" y="168"/>
                  <a:pt x="278" y="168"/>
                  <a:pt x="278" y="168"/>
                </a:cubicBezTo>
                <a:cubicBezTo>
                  <a:pt x="272" y="167"/>
                  <a:pt x="265" y="166"/>
                  <a:pt x="259" y="168"/>
                </a:cubicBezTo>
                <a:cubicBezTo>
                  <a:pt x="257" y="163"/>
                  <a:pt x="257" y="163"/>
                  <a:pt x="257" y="163"/>
                </a:cubicBezTo>
                <a:cubicBezTo>
                  <a:pt x="256" y="159"/>
                  <a:pt x="251" y="157"/>
                  <a:pt x="247" y="159"/>
                </a:cubicBezTo>
                <a:cubicBezTo>
                  <a:pt x="243" y="160"/>
                  <a:pt x="241" y="165"/>
                  <a:pt x="243" y="168"/>
                </a:cubicBezTo>
                <a:cubicBezTo>
                  <a:pt x="244" y="173"/>
                  <a:pt x="244" y="173"/>
                  <a:pt x="244" y="173"/>
                </a:cubicBezTo>
                <a:cubicBezTo>
                  <a:pt x="239" y="176"/>
                  <a:pt x="234" y="181"/>
                  <a:pt x="230" y="186"/>
                </a:cubicBezTo>
                <a:cubicBezTo>
                  <a:pt x="226" y="184"/>
                  <a:pt x="226" y="184"/>
                  <a:pt x="226" y="184"/>
                </a:cubicBezTo>
                <a:cubicBezTo>
                  <a:pt x="222" y="182"/>
                  <a:pt x="217" y="184"/>
                  <a:pt x="216" y="188"/>
                </a:cubicBezTo>
                <a:cubicBezTo>
                  <a:pt x="214" y="192"/>
                  <a:pt x="216" y="196"/>
                  <a:pt x="219" y="198"/>
                </a:cubicBezTo>
                <a:cubicBezTo>
                  <a:pt x="224" y="200"/>
                  <a:pt x="224" y="200"/>
                  <a:pt x="224" y="200"/>
                </a:cubicBezTo>
                <a:cubicBezTo>
                  <a:pt x="222" y="206"/>
                  <a:pt x="221" y="213"/>
                  <a:pt x="223" y="219"/>
                </a:cubicBezTo>
                <a:cubicBezTo>
                  <a:pt x="218" y="221"/>
                  <a:pt x="218" y="221"/>
                  <a:pt x="218" y="221"/>
                </a:cubicBezTo>
                <a:cubicBezTo>
                  <a:pt x="214" y="222"/>
                  <a:pt x="212" y="227"/>
                  <a:pt x="214" y="231"/>
                </a:cubicBezTo>
                <a:cubicBezTo>
                  <a:pt x="215" y="235"/>
                  <a:pt x="220" y="237"/>
                  <a:pt x="223" y="235"/>
                </a:cubicBezTo>
                <a:cubicBezTo>
                  <a:pt x="228" y="234"/>
                  <a:pt x="228" y="234"/>
                  <a:pt x="228" y="234"/>
                </a:cubicBezTo>
                <a:cubicBezTo>
                  <a:pt x="231" y="240"/>
                  <a:pt x="236" y="244"/>
                  <a:pt x="241" y="248"/>
                </a:cubicBezTo>
                <a:cubicBezTo>
                  <a:pt x="239" y="252"/>
                  <a:pt x="239" y="252"/>
                  <a:pt x="239" y="252"/>
                </a:cubicBezTo>
                <a:cubicBezTo>
                  <a:pt x="237" y="256"/>
                  <a:pt x="239" y="261"/>
                  <a:pt x="243" y="262"/>
                </a:cubicBezTo>
                <a:cubicBezTo>
                  <a:pt x="247" y="264"/>
                  <a:pt x="251" y="262"/>
                  <a:pt x="253" y="259"/>
                </a:cubicBezTo>
                <a:cubicBezTo>
                  <a:pt x="255" y="255"/>
                  <a:pt x="255" y="255"/>
                  <a:pt x="255" y="255"/>
                </a:cubicBezTo>
                <a:cubicBezTo>
                  <a:pt x="261" y="256"/>
                  <a:pt x="268" y="257"/>
                  <a:pt x="274" y="255"/>
                </a:cubicBezTo>
                <a:cubicBezTo>
                  <a:pt x="276" y="260"/>
                  <a:pt x="276" y="260"/>
                  <a:pt x="276" y="260"/>
                </a:cubicBezTo>
                <a:cubicBezTo>
                  <a:pt x="277" y="264"/>
                  <a:pt x="282" y="266"/>
                  <a:pt x="286" y="264"/>
                </a:cubicBezTo>
                <a:cubicBezTo>
                  <a:pt x="290" y="263"/>
                  <a:pt x="292" y="259"/>
                  <a:pt x="290" y="255"/>
                </a:cubicBezTo>
                <a:cubicBezTo>
                  <a:pt x="289" y="250"/>
                  <a:pt x="289" y="250"/>
                  <a:pt x="289" y="250"/>
                </a:cubicBezTo>
                <a:cubicBezTo>
                  <a:pt x="295" y="247"/>
                  <a:pt x="299" y="242"/>
                  <a:pt x="303" y="237"/>
                </a:cubicBezTo>
                <a:cubicBezTo>
                  <a:pt x="307" y="239"/>
                  <a:pt x="307" y="239"/>
                  <a:pt x="307" y="239"/>
                </a:cubicBezTo>
                <a:cubicBezTo>
                  <a:pt x="311" y="241"/>
                  <a:pt x="316" y="239"/>
                  <a:pt x="317" y="235"/>
                </a:cubicBezTo>
                <a:cubicBezTo>
                  <a:pt x="319" y="232"/>
                  <a:pt x="318" y="227"/>
                  <a:pt x="314" y="225"/>
                </a:cubicBezTo>
                <a:cubicBezTo>
                  <a:pt x="310" y="223"/>
                  <a:pt x="310" y="223"/>
                  <a:pt x="310" y="223"/>
                </a:cubicBezTo>
                <a:cubicBezTo>
                  <a:pt x="311" y="217"/>
                  <a:pt x="312" y="210"/>
                  <a:pt x="310" y="204"/>
                </a:cubicBezTo>
                <a:cubicBezTo>
                  <a:pt x="315" y="202"/>
                  <a:pt x="315" y="202"/>
                  <a:pt x="315" y="202"/>
                </a:cubicBezTo>
                <a:cubicBezTo>
                  <a:pt x="319" y="201"/>
                  <a:pt x="321" y="196"/>
                  <a:pt x="319" y="192"/>
                </a:cubicBezTo>
                <a:close/>
                <a:moveTo>
                  <a:pt x="267" y="248"/>
                </a:moveTo>
                <a:cubicBezTo>
                  <a:pt x="247" y="248"/>
                  <a:pt x="230" y="232"/>
                  <a:pt x="230" y="212"/>
                </a:cubicBezTo>
                <a:cubicBezTo>
                  <a:pt x="230" y="192"/>
                  <a:pt x="247" y="175"/>
                  <a:pt x="267" y="175"/>
                </a:cubicBezTo>
                <a:cubicBezTo>
                  <a:pt x="287" y="175"/>
                  <a:pt x="303" y="192"/>
                  <a:pt x="303" y="212"/>
                </a:cubicBezTo>
                <a:cubicBezTo>
                  <a:pt x="303" y="232"/>
                  <a:pt x="287" y="248"/>
                  <a:pt x="267" y="248"/>
                </a:cubicBezTo>
                <a:close/>
                <a:moveTo>
                  <a:pt x="306" y="59"/>
                </a:moveTo>
                <a:cubicBezTo>
                  <a:pt x="302" y="56"/>
                  <a:pt x="297" y="55"/>
                  <a:pt x="292" y="55"/>
                </a:cubicBezTo>
                <a:cubicBezTo>
                  <a:pt x="277" y="55"/>
                  <a:pt x="266" y="66"/>
                  <a:pt x="266" y="81"/>
                </a:cubicBezTo>
                <a:cubicBezTo>
                  <a:pt x="266" y="90"/>
                  <a:pt x="271" y="99"/>
                  <a:pt x="278" y="103"/>
                </a:cubicBezTo>
                <a:cubicBezTo>
                  <a:pt x="282" y="106"/>
                  <a:pt x="287" y="107"/>
                  <a:pt x="292" y="107"/>
                </a:cubicBezTo>
                <a:cubicBezTo>
                  <a:pt x="306" y="107"/>
                  <a:pt x="318" y="95"/>
                  <a:pt x="318" y="81"/>
                </a:cubicBezTo>
                <a:cubicBezTo>
                  <a:pt x="318" y="72"/>
                  <a:pt x="314" y="64"/>
                  <a:pt x="306" y="59"/>
                </a:cubicBezTo>
                <a:close/>
                <a:moveTo>
                  <a:pt x="363" y="102"/>
                </a:moveTo>
                <a:cubicBezTo>
                  <a:pt x="357" y="99"/>
                  <a:pt x="357" y="99"/>
                  <a:pt x="357" y="99"/>
                </a:cubicBezTo>
                <a:cubicBezTo>
                  <a:pt x="359" y="89"/>
                  <a:pt x="360" y="79"/>
                  <a:pt x="358" y="69"/>
                </a:cubicBezTo>
                <a:cubicBezTo>
                  <a:pt x="364" y="67"/>
                  <a:pt x="364" y="67"/>
                  <a:pt x="364" y="67"/>
                </a:cubicBezTo>
                <a:cubicBezTo>
                  <a:pt x="370" y="65"/>
                  <a:pt x="373" y="58"/>
                  <a:pt x="371" y="52"/>
                </a:cubicBezTo>
                <a:cubicBezTo>
                  <a:pt x="369" y="46"/>
                  <a:pt x="363" y="43"/>
                  <a:pt x="357" y="45"/>
                </a:cubicBezTo>
                <a:cubicBezTo>
                  <a:pt x="350" y="48"/>
                  <a:pt x="350" y="48"/>
                  <a:pt x="350" y="48"/>
                </a:cubicBezTo>
                <a:cubicBezTo>
                  <a:pt x="345" y="39"/>
                  <a:pt x="338" y="32"/>
                  <a:pt x="330" y="26"/>
                </a:cubicBezTo>
                <a:cubicBezTo>
                  <a:pt x="333" y="20"/>
                  <a:pt x="333" y="20"/>
                  <a:pt x="333" y="20"/>
                </a:cubicBezTo>
                <a:cubicBezTo>
                  <a:pt x="335" y="16"/>
                  <a:pt x="334" y="11"/>
                  <a:pt x="332" y="8"/>
                </a:cubicBezTo>
                <a:cubicBezTo>
                  <a:pt x="331" y="7"/>
                  <a:pt x="329" y="5"/>
                  <a:pt x="328" y="5"/>
                </a:cubicBezTo>
                <a:cubicBezTo>
                  <a:pt x="322" y="2"/>
                  <a:pt x="315" y="4"/>
                  <a:pt x="313" y="10"/>
                </a:cubicBezTo>
                <a:cubicBezTo>
                  <a:pt x="310" y="16"/>
                  <a:pt x="310" y="16"/>
                  <a:pt x="310" y="16"/>
                </a:cubicBezTo>
                <a:cubicBezTo>
                  <a:pt x="300" y="14"/>
                  <a:pt x="290" y="13"/>
                  <a:pt x="280" y="15"/>
                </a:cubicBezTo>
                <a:cubicBezTo>
                  <a:pt x="278" y="9"/>
                  <a:pt x="278" y="9"/>
                  <a:pt x="278" y="9"/>
                </a:cubicBezTo>
                <a:cubicBezTo>
                  <a:pt x="276" y="3"/>
                  <a:pt x="269" y="0"/>
                  <a:pt x="263" y="2"/>
                </a:cubicBezTo>
                <a:cubicBezTo>
                  <a:pt x="257" y="4"/>
                  <a:pt x="254" y="10"/>
                  <a:pt x="256" y="16"/>
                </a:cubicBezTo>
                <a:cubicBezTo>
                  <a:pt x="259" y="23"/>
                  <a:pt x="259" y="23"/>
                  <a:pt x="259" y="23"/>
                </a:cubicBezTo>
                <a:cubicBezTo>
                  <a:pt x="250" y="28"/>
                  <a:pt x="243" y="35"/>
                  <a:pt x="237" y="43"/>
                </a:cubicBezTo>
                <a:cubicBezTo>
                  <a:pt x="231" y="40"/>
                  <a:pt x="231" y="40"/>
                  <a:pt x="231" y="40"/>
                </a:cubicBezTo>
                <a:cubicBezTo>
                  <a:pt x="225" y="37"/>
                  <a:pt x="218" y="40"/>
                  <a:pt x="216" y="45"/>
                </a:cubicBezTo>
                <a:cubicBezTo>
                  <a:pt x="213" y="51"/>
                  <a:pt x="215" y="58"/>
                  <a:pt x="221" y="60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25" y="73"/>
                  <a:pt x="224" y="83"/>
                  <a:pt x="226" y="93"/>
                </a:cubicBezTo>
                <a:cubicBezTo>
                  <a:pt x="220" y="95"/>
                  <a:pt x="220" y="95"/>
                  <a:pt x="220" y="95"/>
                </a:cubicBezTo>
                <a:cubicBezTo>
                  <a:pt x="214" y="97"/>
                  <a:pt x="211" y="104"/>
                  <a:pt x="213" y="110"/>
                </a:cubicBezTo>
                <a:cubicBezTo>
                  <a:pt x="215" y="116"/>
                  <a:pt x="221" y="119"/>
                  <a:pt x="227" y="116"/>
                </a:cubicBezTo>
                <a:cubicBezTo>
                  <a:pt x="234" y="114"/>
                  <a:pt x="234" y="114"/>
                  <a:pt x="234" y="114"/>
                </a:cubicBezTo>
                <a:cubicBezTo>
                  <a:pt x="238" y="122"/>
                  <a:pt x="245" y="129"/>
                  <a:pt x="252" y="135"/>
                </a:cubicBezTo>
                <a:cubicBezTo>
                  <a:pt x="253" y="135"/>
                  <a:pt x="253" y="136"/>
                  <a:pt x="254" y="136"/>
                </a:cubicBezTo>
                <a:cubicBezTo>
                  <a:pt x="251" y="142"/>
                  <a:pt x="251" y="142"/>
                  <a:pt x="251" y="142"/>
                </a:cubicBezTo>
                <a:cubicBezTo>
                  <a:pt x="248" y="148"/>
                  <a:pt x="251" y="155"/>
                  <a:pt x="256" y="157"/>
                </a:cubicBezTo>
                <a:cubicBezTo>
                  <a:pt x="262" y="160"/>
                  <a:pt x="269" y="157"/>
                  <a:pt x="271" y="152"/>
                </a:cubicBezTo>
                <a:cubicBezTo>
                  <a:pt x="274" y="146"/>
                  <a:pt x="274" y="146"/>
                  <a:pt x="274" y="146"/>
                </a:cubicBezTo>
                <a:cubicBezTo>
                  <a:pt x="284" y="148"/>
                  <a:pt x="294" y="149"/>
                  <a:pt x="304" y="147"/>
                </a:cubicBezTo>
                <a:cubicBezTo>
                  <a:pt x="306" y="153"/>
                  <a:pt x="306" y="153"/>
                  <a:pt x="306" y="153"/>
                </a:cubicBezTo>
                <a:cubicBezTo>
                  <a:pt x="308" y="159"/>
                  <a:pt x="315" y="162"/>
                  <a:pt x="321" y="160"/>
                </a:cubicBezTo>
                <a:cubicBezTo>
                  <a:pt x="327" y="158"/>
                  <a:pt x="330" y="151"/>
                  <a:pt x="327" y="146"/>
                </a:cubicBezTo>
                <a:cubicBezTo>
                  <a:pt x="325" y="139"/>
                  <a:pt x="325" y="139"/>
                  <a:pt x="325" y="139"/>
                </a:cubicBezTo>
                <a:cubicBezTo>
                  <a:pt x="334" y="134"/>
                  <a:pt x="341" y="127"/>
                  <a:pt x="347" y="119"/>
                </a:cubicBezTo>
                <a:cubicBezTo>
                  <a:pt x="353" y="122"/>
                  <a:pt x="353" y="122"/>
                  <a:pt x="353" y="122"/>
                </a:cubicBezTo>
                <a:cubicBezTo>
                  <a:pt x="359" y="125"/>
                  <a:pt x="366" y="122"/>
                  <a:pt x="368" y="117"/>
                </a:cubicBezTo>
                <a:cubicBezTo>
                  <a:pt x="371" y="111"/>
                  <a:pt x="368" y="104"/>
                  <a:pt x="363" y="102"/>
                </a:cubicBezTo>
                <a:close/>
                <a:moveTo>
                  <a:pt x="292" y="136"/>
                </a:moveTo>
                <a:cubicBezTo>
                  <a:pt x="280" y="136"/>
                  <a:pt x="269" y="132"/>
                  <a:pt x="260" y="125"/>
                </a:cubicBezTo>
                <a:cubicBezTo>
                  <a:pt x="246" y="116"/>
                  <a:pt x="237" y="99"/>
                  <a:pt x="237" y="81"/>
                </a:cubicBezTo>
                <a:cubicBezTo>
                  <a:pt x="237" y="51"/>
                  <a:pt x="262" y="26"/>
                  <a:pt x="292" y="26"/>
                </a:cubicBezTo>
                <a:cubicBezTo>
                  <a:pt x="302" y="26"/>
                  <a:pt x="312" y="29"/>
                  <a:pt x="320" y="34"/>
                </a:cubicBezTo>
                <a:cubicBezTo>
                  <a:pt x="336" y="43"/>
                  <a:pt x="347" y="61"/>
                  <a:pt x="347" y="81"/>
                </a:cubicBezTo>
                <a:cubicBezTo>
                  <a:pt x="347" y="111"/>
                  <a:pt x="322" y="136"/>
                  <a:pt x="292" y="136"/>
                </a:cubicBezTo>
                <a:close/>
                <a:moveTo>
                  <a:pt x="120" y="112"/>
                </a:moveTo>
                <a:cubicBezTo>
                  <a:pt x="99" y="112"/>
                  <a:pt x="82" y="128"/>
                  <a:pt x="82" y="149"/>
                </a:cubicBezTo>
                <a:cubicBezTo>
                  <a:pt x="82" y="169"/>
                  <a:pt x="99" y="186"/>
                  <a:pt x="120" y="186"/>
                </a:cubicBezTo>
                <a:cubicBezTo>
                  <a:pt x="140" y="186"/>
                  <a:pt x="157" y="169"/>
                  <a:pt x="157" y="149"/>
                </a:cubicBezTo>
                <a:cubicBezTo>
                  <a:pt x="157" y="128"/>
                  <a:pt x="140" y="112"/>
                  <a:pt x="120" y="112"/>
                </a:cubicBezTo>
                <a:close/>
                <a:moveTo>
                  <a:pt x="214" y="165"/>
                </a:moveTo>
                <a:cubicBezTo>
                  <a:pt x="223" y="165"/>
                  <a:pt x="223" y="165"/>
                  <a:pt x="223" y="165"/>
                </a:cubicBezTo>
                <a:cubicBezTo>
                  <a:pt x="232" y="165"/>
                  <a:pt x="240" y="158"/>
                  <a:pt x="240" y="149"/>
                </a:cubicBezTo>
                <a:cubicBezTo>
                  <a:pt x="240" y="148"/>
                  <a:pt x="240" y="148"/>
                  <a:pt x="240" y="148"/>
                </a:cubicBezTo>
                <a:cubicBezTo>
                  <a:pt x="239" y="139"/>
                  <a:pt x="232" y="133"/>
                  <a:pt x="223" y="133"/>
                </a:cubicBezTo>
                <a:cubicBezTo>
                  <a:pt x="214" y="133"/>
                  <a:pt x="214" y="133"/>
                  <a:pt x="214" y="133"/>
                </a:cubicBezTo>
                <a:cubicBezTo>
                  <a:pt x="211" y="118"/>
                  <a:pt x="206" y="105"/>
                  <a:pt x="197" y="94"/>
                </a:cubicBezTo>
                <a:cubicBezTo>
                  <a:pt x="204" y="87"/>
                  <a:pt x="204" y="87"/>
                  <a:pt x="204" y="87"/>
                </a:cubicBezTo>
                <a:cubicBezTo>
                  <a:pt x="211" y="80"/>
                  <a:pt x="211" y="70"/>
                  <a:pt x="204" y="64"/>
                </a:cubicBezTo>
                <a:cubicBezTo>
                  <a:pt x="198" y="58"/>
                  <a:pt x="188" y="58"/>
                  <a:pt x="182" y="64"/>
                </a:cubicBezTo>
                <a:cubicBezTo>
                  <a:pt x="175" y="71"/>
                  <a:pt x="175" y="71"/>
                  <a:pt x="175" y="71"/>
                </a:cubicBezTo>
                <a:cubicBezTo>
                  <a:pt x="163" y="63"/>
                  <a:pt x="150" y="57"/>
                  <a:pt x="136" y="55"/>
                </a:cubicBezTo>
                <a:cubicBezTo>
                  <a:pt x="136" y="45"/>
                  <a:pt x="136" y="45"/>
                  <a:pt x="136" y="45"/>
                </a:cubicBezTo>
                <a:cubicBezTo>
                  <a:pt x="136" y="36"/>
                  <a:pt x="129" y="29"/>
                  <a:pt x="120" y="29"/>
                </a:cubicBezTo>
                <a:cubicBezTo>
                  <a:pt x="111" y="29"/>
                  <a:pt x="103" y="36"/>
                  <a:pt x="103" y="45"/>
                </a:cubicBezTo>
                <a:cubicBezTo>
                  <a:pt x="103" y="55"/>
                  <a:pt x="103" y="55"/>
                  <a:pt x="103" y="55"/>
                </a:cubicBezTo>
                <a:cubicBezTo>
                  <a:pt x="89" y="57"/>
                  <a:pt x="76" y="63"/>
                  <a:pt x="65" y="71"/>
                </a:cubicBezTo>
                <a:cubicBezTo>
                  <a:pt x="58" y="64"/>
                  <a:pt x="58" y="64"/>
                  <a:pt x="58" y="64"/>
                </a:cubicBezTo>
                <a:cubicBezTo>
                  <a:pt x="51" y="58"/>
                  <a:pt x="41" y="58"/>
                  <a:pt x="35" y="64"/>
                </a:cubicBezTo>
                <a:cubicBezTo>
                  <a:pt x="28" y="70"/>
                  <a:pt x="28" y="80"/>
                  <a:pt x="35" y="87"/>
                </a:cubicBezTo>
                <a:cubicBezTo>
                  <a:pt x="42" y="94"/>
                  <a:pt x="42" y="94"/>
                  <a:pt x="42" y="94"/>
                </a:cubicBezTo>
                <a:cubicBezTo>
                  <a:pt x="34" y="105"/>
                  <a:pt x="28" y="118"/>
                  <a:pt x="26" y="133"/>
                </a:cubicBezTo>
                <a:cubicBezTo>
                  <a:pt x="16" y="133"/>
                  <a:pt x="16" y="133"/>
                  <a:pt x="16" y="133"/>
                </a:cubicBezTo>
                <a:cubicBezTo>
                  <a:pt x="7" y="133"/>
                  <a:pt x="0" y="140"/>
                  <a:pt x="0" y="149"/>
                </a:cubicBezTo>
                <a:cubicBezTo>
                  <a:pt x="0" y="158"/>
                  <a:pt x="7" y="165"/>
                  <a:pt x="16" y="165"/>
                </a:cubicBezTo>
                <a:cubicBezTo>
                  <a:pt x="26" y="165"/>
                  <a:pt x="26" y="165"/>
                  <a:pt x="26" y="165"/>
                </a:cubicBezTo>
                <a:cubicBezTo>
                  <a:pt x="28" y="179"/>
                  <a:pt x="34" y="192"/>
                  <a:pt x="42" y="204"/>
                </a:cubicBezTo>
                <a:cubicBezTo>
                  <a:pt x="35" y="211"/>
                  <a:pt x="35" y="211"/>
                  <a:pt x="35" y="211"/>
                </a:cubicBezTo>
                <a:cubicBezTo>
                  <a:pt x="28" y="217"/>
                  <a:pt x="28" y="227"/>
                  <a:pt x="35" y="234"/>
                </a:cubicBezTo>
                <a:cubicBezTo>
                  <a:pt x="41" y="240"/>
                  <a:pt x="51" y="240"/>
                  <a:pt x="58" y="234"/>
                </a:cubicBezTo>
                <a:cubicBezTo>
                  <a:pt x="65" y="227"/>
                  <a:pt x="65" y="227"/>
                  <a:pt x="65" y="227"/>
                </a:cubicBezTo>
                <a:cubicBezTo>
                  <a:pt x="72" y="232"/>
                  <a:pt x="81" y="236"/>
                  <a:pt x="90" y="239"/>
                </a:cubicBezTo>
                <a:cubicBezTo>
                  <a:pt x="94" y="241"/>
                  <a:pt x="99" y="242"/>
                  <a:pt x="103" y="243"/>
                </a:cubicBezTo>
                <a:cubicBezTo>
                  <a:pt x="103" y="253"/>
                  <a:pt x="103" y="253"/>
                  <a:pt x="103" y="253"/>
                </a:cubicBezTo>
                <a:cubicBezTo>
                  <a:pt x="103" y="262"/>
                  <a:pt x="111" y="269"/>
                  <a:pt x="120" y="269"/>
                </a:cubicBezTo>
                <a:cubicBezTo>
                  <a:pt x="129" y="269"/>
                  <a:pt x="136" y="262"/>
                  <a:pt x="136" y="253"/>
                </a:cubicBezTo>
                <a:cubicBezTo>
                  <a:pt x="136" y="243"/>
                  <a:pt x="136" y="243"/>
                  <a:pt x="136" y="243"/>
                </a:cubicBezTo>
                <a:cubicBezTo>
                  <a:pt x="150" y="240"/>
                  <a:pt x="163" y="235"/>
                  <a:pt x="175" y="227"/>
                </a:cubicBezTo>
                <a:cubicBezTo>
                  <a:pt x="182" y="234"/>
                  <a:pt x="182" y="234"/>
                  <a:pt x="182" y="234"/>
                </a:cubicBezTo>
                <a:cubicBezTo>
                  <a:pt x="188" y="240"/>
                  <a:pt x="198" y="240"/>
                  <a:pt x="204" y="234"/>
                </a:cubicBezTo>
                <a:cubicBezTo>
                  <a:pt x="211" y="227"/>
                  <a:pt x="211" y="217"/>
                  <a:pt x="204" y="211"/>
                </a:cubicBezTo>
                <a:cubicBezTo>
                  <a:pt x="197" y="204"/>
                  <a:pt x="197" y="204"/>
                  <a:pt x="197" y="204"/>
                </a:cubicBezTo>
                <a:cubicBezTo>
                  <a:pt x="204" y="194"/>
                  <a:pt x="209" y="184"/>
                  <a:pt x="212" y="172"/>
                </a:cubicBezTo>
                <a:cubicBezTo>
                  <a:pt x="213" y="170"/>
                  <a:pt x="213" y="167"/>
                  <a:pt x="214" y="165"/>
                </a:cubicBezTo>
                <a:close/>
                <a:moveTo>
                  <a:pt x="183" y="194"/>
                </a:moveTo>
                <a:cubicBezTo>
                  <a:pt x="169" y="213"/>
                  <a:pt x="148" y="225"/>
                  <a:pt x="123" y="226"/>
                </a:cubicBezTo>
                <a:cubicBezTo>
                  <a:pt x="122" y="226"/>
                  <a:pt x="121" y="226"/>
                  <a:pt x="120" y="226"/>
                </a:cubicBezTo>
                <a:cubicBezTo>
                  <a:pt x="77" y="226"/>
                  <a:pt x="42" y="192"/>
                  <a:pt x="42" y="149"/>
                </a:cubicBezTo>
                <a:cubicBezTo>
                  <a:pt x="42" y="106"/>
                  <a:pt x="77" y="71"/>
                  <a:pt x="120" y="71"/>
                </a:cubicBezTo>
                <a:cubicBezTo>
                  <a:pt x="162" y="71"/>
                  <a:pt x="197" y="106"/>
                  <a:pt x="197" y="149"/>
                </a:cubicBezTo>
                <a:cubicBezTo>
                  <a:pt x="197" y="166"/>
                  <a:pt x="192" y="181"/>
                  <a:pt x="183" y="1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CB2174B0-CD8A-D9C8-A4DF-9F38A19C0A01}"/>
              </a:ext>
            </a:extLst>
          </p:cNvPr>
          <p:cNvGrpSpPr/>
          <p:nvPr/>
        </p:nvGrpSpPr>
        <p:grpSpPr>
          <a:xfrm flipH="1">
            <a:off x="11044428" y="-4417"/>
            <a:ext cx="1147572" cy="1261871"/>
            <a:chOff x="10667" y="0"/>
            <a:chExt cx="1147572" cy="1261871"/>
          </a:xfrm>
        </p:grpSpPr>
        <p:sp>
          <p:nvSpPr>
            <p:cNvPr id="74" name="object 3">
              <a:extLst>
                <a:ext uri="{FF2B5EF4-FFF2-40B4-BE49-F238E27FC236}">
                  <a16:creationId xmlns:a16="http://schemas.microsoft.com/office/drawing/2014/main" id="{9C0BEB40-5FDD-F556-274F-1D4241D0A7F4}"/>
                </a:ext>
              </a:extLst>
            </p:cNvPr>
            <p:cNvSpPr/>
            <p:nvPr/>
          </p:nvSpPr>
          <p:spPr>
            <a:xfrm>
              <a:off x="373379" y="236220"/>
              <a:ext cx="784860" cy="666115"/>
            </a:xfrm>
            <a:custGeom>
              <a:avLst/>
              <a:gdLst/>
              <a:ahLst/>
              <a:cxnLst/>
              <a:rect l="l" t="t" r="r" b="b"/>
              <a:pathLst>
                <a:path w="784860" h="666115">
                  <a:moveTo>
                    <a:pt x="618363" y="0"/>
                  </a:moveTo>
                  <a:lnTo>
                    <a:pt x="166497" y="0"/>
                  </a:lnTo>
                  <a:lnTo>
                    <a:pt x="0" y="332930"/>
                  </a:lnTo>
                  <a:lnTo>
                    <a:pt x="166497" y="665861"/>
                  </a:lnTo>
                  <a:lnTo>
                    <a:pt x="618363" y="665861"/>
                  </a:lnTo>
                  <a:lnTo>
                    <a:pt x="784860" y="332930"/>
                  </a:lnTo>
                  <a:lnTo>
                    <a:pt x="618363" y="0"/>
                  </a:lnTo>
                  <a:close/>
                </a:path>
              </a:pathLst>
            </a:custGeom>
            <a:solidFill>
              <a:srgbClr val="2192D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object 2">
              <a:extLst>
                <a:ext uri="{FF2B5EF4-FFF2-40B4-BE49-F238E27FC236}">
                  <a16:creationId xmlns:a16="http://schemas.microsoft.com/office/drawing/2014/main" id="{FFD04B74-B8CB-B257-01B4-DD9AFD9162C5}"/>
                </a:ext>
              </a:extLst>
            </p:cNvPr>
            <p:cNvSpPr/>
            <p:nvPr/>
          </p:nvSpPr>
          <p:spPr>
            <a:xfrm>
              <a:off x="10667" y="0"/>
              <a:ext cx="495299" cy="126187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76" name="Group 18">
            <a:extLst>
              <a:ext uri="{FF2B5EF4-FFF2-40B4-BE49-F238E27FC236}">
                <a16:creationId xmlns:a16="http://schemas.microsoft.com/office/drawing/2014/main" id="{1EED2151-AB88-C9BB-2C9E-28089A23A17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89208" y="292196"/>
            <a:ext cx="495299" cy="545328"/>
            <a:chOff x="2588" y="407"/>
            <a:chExt cx="594" cy="654"/>
          </a:xfrm>
        </p:grpSpPr>
        <p:sp>
          <p:nvSpPr>
            <p:cNvPr id="77" name="Freeform 19">
              <a:extLst>
                <a:ext uri="{FF2B5EF4-FFF2-40B4-BE49-F238E27FC236}">
                  <a16:creationId xmlns:a16="http://schemas.microsoft.com/office/drawing/2014/main" id="{1DCB794A-095E-9F60-D84C-7B624088D4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8" y="550"/>
              <a:ext cx="354" cy="511"/>
            </a:xfrm>
            <a:custGeom>
              <a:avLst/>
              <a:gdLst>
                <a:gd name="T0" fmla="*/ 193 w 236"/>
                <a:gd name="T1" fmla="*/ 183 h 341"/>
                <a:gd name="T2" fmla="*/ 215 w 236"/>
                <a:gd name="T3" fmla="*/ 147 h 341"/>
                <a:gd name="T4" fmla="*/ 150 w 236"/>
                <a:gd name="T5" fmla="*/ 7 h 341"/>
                <a:gd name="T6" fmla="*/ 112 w 236"/>
                <a:gd name="T7" fmla="*/ 0 h 341"/>
                <a:gd name="T8" fmla="*/ 112 w 236"/>
                <a:gd name="T9" fmla="*/ 0 h 341"/>
                <a:gd name="T10" fmla="*/ 10 w 236"/>
                <a:gd name="T11" fmla="*/ 72 h 341"/>
                <a:gd name="T12" fmla="*/ 11 w 236"/>
                <a:gd name="T13" fmla="*/ 151 h 341"/>
                <a:gd name="T14" fmla="*/ 15 w 236"/>
                <a:gd name="T15" fmla="*/ 160 h 341"/>
                <a:gd name="T16" fmla="*/ 31 w 236"/>
                <a:gd name="T17" fmla="*/ 183 h 341"/>
                <a:gd name="T18" fmla="*/ 56 w 236"/>
                <a:gd name="T19" fmla="*/ 231 h 341"/>
                <a:gd name="T20" fmla="*/ 56 w 236"/>
                <a:gd name="T21" fmla="*/ 244 h 341"/>
                <a:gd name="T22" fmla="*/ 46 w 236"/>
                <a:gd name="T23" fmla="*/ 262 h 341"/>
                <a:gd name="T24" fmla="*/ 46 w 236"/>
                <a:gd name="T25" fmla="*/ 274 h 341"/>
                <a:gd name="T26" fmla="*/ 46 w 236"/>
                <a:gd name="T27" fmla="*/ 292 h 341"/>
                <a:gd name="T28" fmla="*/ 53 w 236"/>
                <a:gd name="T29" fmla="*/ 308 h 341"/>
                <a:gd name="T30" fmla="*/ 65 w 236"/>
                <a:gd name="T31" fmla="*/ 319 h 341"/>
                <a:gd name="T32" fmla="*/ 76 w 236"/>
                <a:gd name="T33" fmla="*/ 325 h 341"/>
                <a:gd name="T34" fmla="*/ 107 w 236"/>
                <a:gd name="T35" fmla="*/ 341 h 341"/>
                <a:gd name="T36" fmla="*/ 117 w 236"/>
                <a:gd name="T37" fmla="*/ 341 h 341"/>
                <a:gd name="T38" fmla="*/ 148 w 236"/>
                <a:gd name="T39" fmla="*/ 325 h 341"/>
                <a:gd name="T40" fmla="*/ 158 w 236"/>
                <a:gd name="T41" fmla="*/ 319 h 341"/>
                <a:gd name="T42" fmla="*/ 170 w 236"/>
                <a:gd name="T43" fmla="*/ 308 h 341"/>
                <a:gd name="T44" fmla="*/ 177 w 236"/>
                <a:gd name="T45" fmla="*/ 292 h 341"/>
                <a:gd name="T46" fmla="*/ 177 w 236"/>
                <a:gd name="T47" fmla="*/ 274 h 341"/>
                <a:gd name="T48" fmla="*/ 177 w 236"/>
                <a:gd name="T49" fmla="*/ 262 h 341"/>
                <a:gd name="T50" fmla="*/ 168 w 236"/>
                <a:gd name="T51" fmla="*/ 245 h 341"/>
                <a:gd name="T52" fmla="*/ 168 w 236"/>
                <a:gd name="T53" fmla="*/ 231 h 341"/>
                <a:gd name="T54" fmla="*/ 193 w 236"/>
                <a:gd name="T55" fmla="*/ 183 h 341"/>
                <a:gd name="T56" fmla="*/ 156 w 236"/>
                <a:gd name="T57" fmla="*/ 274 h 341"/>
                <a:gd name="T58" fmla="*/ 156 w 236"/>
                <a:gd name="T59" fmla="*/ 292 h 341"/>
                <a:gd name="T60" fmla="*/ 156 w 236"/>
                <a:gd name="T61" fmla="*/ 293 h 341"/>
                <a:gd name="T62" fmla="*/ 144 w 236"/>
                <a:gd name="T63" fmla="*/ 304 h 341"/>
                <a:gd name="T64" fmla="*/ 143 w 236"/>
                <a:gd name="T65" fmla="*/ 304 h 341"/>
                <a:gd name="T66" fmla="*/ 133 w 236"/>
                <a:gd name="T67" fmla="*/ 304 h 341"/>
                <a:gd name="T68" fmla="*/ 132 w 236"/>
                <a:gd name="T69" fmla="*/ 305 h 341"/>
                <a:gd name="T70" fmla="*/ 132 w 236"/>
                <a:gd name="T71" fmla="*/ 307 h 341"/>
                <a:gd name="T72" fmla="*/ 117 w 236"/>
                <a:gd name="T73" fmla="*/ 320 h 341"/>
                <a:gd name="T74" fmla="*/ 107 w 236"/>
                <a:gd name="T75" fmla="*/ 320 h 341"/>
                <a:gd name="T76" fmla="*/ 92 w 236"/>
                <a:gd name="T77" fmla="*/ 307 h 341"/>
                <a:gd name="T78" fmla="*/ 92 w 236"/>
                <a:gd name="T79" fmla="*/ 305 h 341"/>
                <a:gd name="T80" fmla="*/ 91 w 236"/>
                <a:gd name="T81" fmla="*/ 304 h 341"/>
                <a:gd name="T82" fmla="*/ 80 w 236"/>
                <a:gd name="T83" fmla="*/ 304 h 341"/>
                <a:gd name="T84" fmla="*/ 79 w 236"/>
                <a:gd name="T85" fmla="*/ 304 h 341"/>
                <a:gd name="T86" fmla="*/ 68 w 236"/>
                <a:gd name="T87" fmla="*/ 293 h 341"/>
                <a:gd name="T88" fmla="*/ 67 w 236"/>
                <a:gd name="T89" fmla="*/ 292 h 341"/>
                <a:gd name="T90" fmla="*/ 67 w 236"/>
                <a:gd name="T91" fmla="*/ 274 h 341"/>
                <a:gd name="T92" fmla="*/ 67 w 236"/>
                <a:gd name="T93" fmla="*/ 264 h 341"/>
                <a:gd name="T94" fmla="*/ 67 w 236"/>
                <a:gd name="T95" fmla="*/ 262 h 341"/>
                <a:gd name="T96" fmla="*/ 68 w 236"/>
                <a:gd name="T97" fmla="*/ 262 h 341"/>
                <a:gd name="T98" fmla="*/ 155 w 236"/>
                <a:gd name="T99" fmla="*/ 262 h 341"/>
                <a:gd name="T100" fmla="*/ 156 w 236"/>
                <a:gd name="T101" fmla="*/ 262 h 341"/>
                <a:gd name="T102" fmla="*/ 156 w 236"/>
                <a:gd name="T103" fmla="*/ 264 h 341"/>
                <a:gd name="T104" fmla="*/ 156 w 236"/>
                <a:gd name="T105" fmla="*/ 274 h 341"/>
                <a:gd name="T106" fmla="*/ 184 w 236"/>
                <a:gd name="T107" fmla="*/ 136 h 341"/>
                <a:gd name="T108" fmla="*/ 140 w 236"/>
                <a:gd name="T109" fmla="*/ 180 h 341"/>
                <a:gd name="T110" fmla="*/ 135 w 236"/>
                <a:gd name="T111" fmla="*/ 180 h 341"/>
                <a:gd name="T112" fmla="*/ 156 w 236"/>
                <a:gd name="T113" fmla="*/ 149 h 341"/>
                <a:gd name="T114" fmla="*/ 110 w 236"/>
                <a:gd name="T115" fmla="*/ 50 h 341"/>
                <a:gd name="T116" fmla="*/ 69 w 236"/>
                <a:gd name="T117" fmla="*/ 46 h 341"/>
                <a:gd name="T118" fmla="*/ 112 w 236"/>
                <a:gd name="T119" fmla="*/ 33 h 341"/>
                <a:gd name="T120" fmla="*/ 138 w 236"/>
                <a:gd name="T121" fmla="*/ 38 h 341"/>
                <a:gd name="T122" fmla="*/ 181 w 236"/>
                <a:gd name="T123" fmla="*/ 77 h 341"/>
                <a:gd name="T124" fmla="*/ 184 w 236"/>
                <a:gd name="T125" fmla="*/ 13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6" h="341">
                  <a:moveTo>
                    <a:pt x="193" y="183"/>
                  </a:moveTo>
                  <a:cubicBezTo>
                    <a:pt x="202" y="173"/>
                    <a:pt x="210" y="161"/>
                    <a:pt x="215" y="147"/>
                  </a:cubicBezTo>
                  <a:cubicBezTo>
                    <a:pt x="236" y="91"/>
                    <a:pt x="207" y="28"/>
                    <a:pt x="150" y="7"/>
                  </a:cubicBezTo>
                  <a:cubicBezTo>
                    <a:pt x="137" y="2"/>
                    <a:pt x="125" y="0"/>
                    <a:pt x="112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68" y="0"/>
                    <a:pt x="26" y="28"/>
                    <a:pt x="10" y="72"/>
                  </a:cubicBezTo>
                  <a:cubicBezTo>
                    <a:pt x="0" y="98"/>
                    <a:pt x="1" y="126"/>
                    <a:pt x="11" y="151"/>
                  </a:cubicBezTo>
                  <a:cubicBezTo>
                    <a:pt x="12" y="154"/>
                    <a:pt x="13" y="157"/>
                    <a:pt x="15" y="160"/>
                  </a:cubicBezTo>
                  <a:cubicBezTo>
                    <a:pt x="19" y="168"/>
                    <a:pt x="25" y="176"/>
                    <a:pt x="31" y="183"/>
                  </a:cubicBezTo>
                  <a:cubicBezTo>
                    <a:pt x="36" y="189"/>
                    <a:pt x="49" y="208"/>
                    <a:pt x="56" y="231"/>
                  </a:cubicBezTo>
                  <a:cubicBezTo>
                    <a:pt x="56" y="244"/>
                    <a:pt x="56" y="244"/>
                    <a:pt x="56" y="244"/>
                  </a:cubicBezTo>
                  <a:cubicBezTo>
                    <a:pt x="50" y="248"/>
                    <a:pt x="46" y="255"/>
                    <a:pt x="46" y="262"/>
                  </a:cubicBezTo>
                  <a:cubicBezTo>
                    <a:pt x="46" y="274"/>
                    <a:pt x="46" y="274"/>
                    <a:pt x="46" y="274"/>
                  </a:cubicBezTo>
                  <a:cubicBezTo>
                    <a:pt x="46" y="292"/>
                    <a:pt x="46" y="292"/>
                    <a:pt x="46" y="292"/>
                  </a:cubicBezTo>
                  <a:cubicBezTo>
                    <a:pt x="46" y="298"/>
                    <a:pt x="49" y="304"/>
                    <a:pt x="53" y="308"/>
                  </a:cubicBezTo>
                  <a:cubicBezTo>
                    <a:pt x="65" y="319"/>
                    <a:pt x="65" y="319"/>
                    <a:pt x="65" y="319"/>
                  </a:cubicBezTo>
                  <a:cubicBezTo>
                    <a:pt x="68" y="322"/>
                    <a:pt x="72" y="324"/>
                    <a:pt x="76" y="325"/>
                  </a:cubicBezTo>
                  <a:cubicBezTo>
                    <a:pt x="82" y="335"/>
                    <a:pt x="94" y="341"/>
                    <a:pt x="107" y="341"/>
                  </a:cubicBezTo>
                  <a:cubicBezTo>
                    <a:pt x="117" y="341"/>
                    <a:pt x="117" y="341"/>
                    <a:pt x="117" y="341"/>
                  </a:cubicBezTo>
                  <a:cubicBezTo>
                    <a:pt x="130" y="341"/>
                    <a:pt x="142" y="334"/>
                    <a:pt x="148" y="325"/>
                  </a:cubicBezTo>
                  <a:cubicBezTo>
                    <a:pt x="152" y="324"/>
                    <a:pt x="155" y="322"/>
                    <a:pt x="158" y="319"/>
                  </a:cubicBezTo>
                  <a:cubicBezTo>
                    <a:pt x="170" y="308"/>
                    <a:pt x="170" y="308"/>
                    <a:pt x="170" y="308"/>
                  </a:cubicBezTo>
                  <a:cubicBezTo>
                    <a:pt x="174" y="304"/>
                    <a:pt x="177" y="298"/>
                    <a:pt x="177" y="292"/>
                  </a:cubicBezTo>
                  <a:cubicBezTo>
                    <a:pt x="177" y="274"/>
                    <a:pt x="177" y="274"/>
                    <a:pt x="177" y="274"/>
                  </a:cubicBezTo>
                  <a:cubicBezTo>
                    <a:pt x="177" y="262"/>
                    <a:pt x="177" y="262"/>
                    <a:pt x="177" y="262"/>
                  </a:cubicBezTo>
                  <a:cubicBezTo>
                    <a:pt x="177" y="255"/>
                    <a:pt x="173" y="249"/>
                    <a:pt x="168" y="245"/>
                  </a:cubicBezTo>
                  <a:cubicBezTo>
                    <a:pt x="168" y="231"/>
                    <a:pt x="168" y="231"/>
                    <a:pt x="168" y="231"/>
                  </a:cubicBezTo>
                  <a:cubicBezTo>
                    <a:pt x="175" y="208"/>
                    <a:pt x="188" y="190"/>
                    <a:pt x="193" y="183"/>
                  </a:cubicBezTo>
                  <a:close/>
                  <a:moveTo>
                    <a:pt x="156" y="274"/>
                  </a:moveTo>
                  <a:cubicBezTo>
                    <a:pt x="156" y="292"/>
                    <a:pt x="156" y="292"/>
                    <a:pt x="156" y="292"/>
                  </a:cubicBezTo>
                  <a:cubicBezTo>
                    <a:pt x="156" y="292"/>
                    <a:pt x="156" y="293"/>
                    <a:pt x="156" y="293"/>
                  </a:cubicBezTo>
                  <a:cubicBezTo>
                    <a:pt x="144" y="304"/>
                    <a:pt x="144" y="304"/>
                    <a:pt x="144" y="304"/>
                  </a:cubicBezTo>
                  <a:cubicBezTo>
                    <a:pt x="144" y="304"/>
                    <a:pt x="143" y="304"/>
                    <a:pt x="143" y="304"/>
                  </a:cubicBezTo>
                  <a:cubicBezTo>
                    <a:pt x="133" y="304"/>
                    <a:pt x="133" y="304"/>
                    <a:pt x="133" y="304"/>
                  </a:cubicBezTo>
                  <a:cubicBezTo>
                    <a:pt x="133" y="304"/>
                    <a:pt x="132" y="305"/>
                    <a:pt x="132" y="305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132" y="314"/>
                    <a:pt x="126" y="320"/>
                    <a:pt x="117" y="320"/>
                  </a:cubicBezTo>
                  <a:cubicBezTo>
                    <a:pt x="107" y="320"/>
                    <a:pt x="107" y="320"/>
                    <a:pt x="107" y="320"/>
                  </a:cubicBezTo>
                  <a:cubicBezTo>
                    <a:pt x="98" y="320"/>
                    <a:pt x="92" y="314"/>
                    <a:pt x="92" y="307"/>
                  </a:cubicBezTo>
                  <a:cubicBezTo>
                    <a:pt x="92" y="305"/>
                    <a:pt x="92" y="305"/>
                    <a:pt x="92" y="305"/>
                  </a:cubicBezTo>
                  <a:cubicBezTo>
                    <a:pt x="92" y="305"/>
                    <a:pt x="91" y="304"/>
                    <a:pt x="91" y="304"/>
                  </a:cubicBezTo>
                  <a:cubicBezTo>
                    <a:pt x="80" y="304"/>
                    <a:pt x="80" y="304"/>
                    <a:pt x="80" y="304"/>
                  </a:cubicBezTo>
                  <a:cubicBezTo>
                    <a:pt x="80" y="304"/>
                    <a:pt x="80" y="304"/>
                    <a:pt x="79" y="304"/>
                  </a:cubicBezTo>
                  <a:cubicBezTo>
                    <a:pt x="68" y="293"/>
                    <a:pt x="68" y="293"/>
                    <a:pt x="68" y="293"/>
                  </a:cubicBezTo>
                  <a:cubicBezTo>
                    <a:pt x="67" y="293"/>
                    <a:pt x="67" y="292"/>
                    <a:pt x="67" y="292"/>
                  </a:cubicBezTo>
                  <a:cubicBezTo>
                    <a:pt x="67" y="274"/>
                    <a:pt x="67" y="274"/>
                    <a:pt x="67" y="274"/>
                  </a:cubicBezTo>
                  <a:cubicBezTo>
                    <a:pt x="67" y="264"/>
                    <a:pt x="67" y="264"/>
                    <a:pt x="67" y="264"/>
                  </a:cubicBezTo>
                  <a:cubicBezTo>
                    <a:pt x="67" y="262"/>
                    <a:pt x="67" y="262"/>
                    <a:pt x="67" y="262"/>
                  </a:cubicBezTo>
                  <a:cubicBezTo>
                    <a:pt x="67" y="262"/>
                    <a:pt x="67" y="262"/>
                    <a:pt x="68" y="262"/>
                  </a:cubicBezTo>
                  <a:cubicBezTo>
                    <a:pt x="155" y="262"/>
                    <a:pt x="155" y="262"/>
                    <a:pt x="155" y="262"/>
                  </a:cubicBezTo>
                  <a:cubicBezTo>
                    <a:pt x="156" y="262"/>
                    <a:pt x="156" y="262"/>
                    <a:pt x="156" y="262"/>
                  </a:cubicBezTo>
                  <a:cubicBezTo>
                    <a:pt x="156" y="264"/>
                    <a:pt x="156" y="264"/>
                    <a:pt x="156" y="264"/>
                  </a:cubicBezTo>
                  <a:lnTo>
                    <a:pt x="156" y="274"/>
                  </a:lnTo>
                  <a:close/>
                  <a:moveTo>
                    <a:pt x="184" y="136"/>
                  </a:moveTo>
                  <a:cubicBezTo>
                    <a:pt x="176" y="157"/>
                    <a:pt x="160" y="173"/>
                    <a:pt x="140" y="180"/>
                  </a:cubicBezTo>
                  <a:cubicBezTo>
                    <a:pt x="135" y="180"/>
                    <a:pt x="135" y="180"/>
                    <a:pt x="135" y="180"/>
                  </a:cubicBezTo>
                  <a:cubicBezTo>
                    <a:pt x="144" y="172"/>
                    <a:pt x="152" y="162"/>
                    <a:pt x="156" y="149"/>
                  </a:cubicBezTo>
                  <a:cubicBezTo>
                    <a:pt x="171" y="109"/>
                    <a:pt x="150" y="65"/>
                    <a:pt x="110" y="50"/>
                  </a:cubicBezTo>
                  <a:cubicBezTo>
                    <a:pt x="97" y="45"/>
                    <a:pt x="83" y="44"/>
                    <a:pt x="69" y="46"/>
                  </a:cubicBezTo>
                  <a:cubicBezTo>
                    <a:pt x="82" y="38"/>
                    <a:pt x="97" y="33"/>
                    <a:pt x="112" y="33"/>
                  </a:cubicBezTo>
                  <a:cubicBezTo>
                    <a:pt x="121" y="33"/>
                    <a:pt x="130" y="35"/>
                    <a:pt x="138" y="38"/>
                  </a:cubicBezTo>
                  <a:cubicBezTo>
                    <a:pt x="158" y="45"/>
                    <a:pt x="173" y="59"/>
                    <a:pt x="181" y="77"/>
                  </a:cubicBezTo>
                  <a:cubicBezTo>
                    <a:pt x="190" y="96"/>
                    <a:pt x="191" y="117"/>
                    <a:pt x="184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Freeform 20">
              <a:extLst>
                <a:ext uri="{FF2B5EF4-FFF2-40B4-BE49-F238E27FC236}">
                  <a16:creationId xmlns:a16="http://schemas.microsoft.com/office/drawing/2014/main" id="{147AE5BE-3EF2-2ACF-8814-69C40147B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5" y="407"/>
              <a:ext cx="42" cy="95"/>
            </a:xfrm>
            <a:custGeom>
              <a:avLst/>
              <a:gdLst>
                <a:gd name="T0" fmla="*/ 28 w 28"/>
                <a:gd name="T1" fmla="*/ 49 h 63"/>
                <a:gd name="T2" fmla="*/ 28 w 28"/>
                <a:gd name="T3" fmla="*/ 14 h 63"/>
                <a:gd name="T4" fmla="*/ 14 w 28"/>
                <a:gd name="T5" fmla="*/ 0 h 63"/>
                <a:gd name="T6" fmla="*/ 0 w 28"/>
                <a:gd name="T7" fmla="*/ 14 h 63"/>
                <a:gd name="T8" fmla="*/ 0 w 28"/>
                <a:gd name="T9" fmla="*/ 49 h 63"/>
                <a:gd name="T10" fmla="*/ 14 w 28"/>
                <a:gd name="T11" fmla="*/ 63 h 63"/>
                <a:gd name="T12" fmla="*/ 28 w 28"/>
                <a:gd name="T13" fmla="*/ 4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63">
                  <a:moveTo>
                    <a:pt x="28" y="49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8" y="7"/>
                    <a:pt x="22" y="0"/>
                    <a:pt x="14" y="0"/>
                  </a:cubicBezTo>
                  <a:cubicBezTo>
                    <a:pt x="6" y="0"/>
                    <a:pt x="0" y="7"/>
                    <a:pt x="0" y="1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6" y="63"/>
                    <a:pt x="14" y="63"/>
                  </a:cubicBezTo>
                  <a:cubicBezTo>
                    <a:pt x="22" y="63"/>
                    <a:pt x="28" y="57"/>
                    <a:pt x="28" y="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Freeform 21">
              <a:extLst>
                <a:ext uri="{FF2B5EF4-FFF2-40B4-BE49-F238E27FC236}">
                  <a16:creationId xmlns:a16="http://schemas.microsoft.com/office/drawing/2014/main" id="{E93A436B-8643-8AD9-E8AC-9F566825EA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" y="521"/>
              <a:ext cx="90" cy="75"/>
            </a:xfrm>
            <a:custGeom>
              <a:avLst/>
              <a:gdLst>
                <a:gd name="T0" fmla="*/ 55 w 60"/>
                <a:gd name="T1" fmla="*/ 7 h 50"/>
                <a:gd name="T2" fmla="*/ 36 w 60"/>
                <a:gd name="T3" fmla="*/ 4 h 50"/>
                <a:gd name="T4" fmla="*/ 8 w 60"/>
                <a:gd name="T5" fmla="*/ 25 h 50"/>
                <a:gd name="T6" fmla="*/ 5 w 60"/>
                <a:gd name="T7" fmla="*/ 44 h 50"/>
                <a:gd name="T8" fmla="*/ 16 w 60"/>
                <a:gd name="T9" fmla="*/ 50 h 50"/>
                <a:gd name="T10" fmla="*/ 24 w 60"/>
                <a:gd name="T11" fmla="*/ 47 h 50"/>
                <a:gd name="T12" fmla="*/ 52 w 60"/>
                <a:gd name="T13" fmla="*/ 27 h 50"/>
                <a:gd name="T14" fmla="*/ 55 w 60"/>
                <a:gd name="T15" fmla="*/ 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55" y="7"/>
                  </a:moveTo>
                  <a:cubicBezTo>
                    <a:pt x="51" y="1"/>
                    <a:pt x="42" y="0"/>
                    <a:pt x="36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" y="30"/>
                    <a:pt x="0" y="38"/>
                    <a:pt x="5" y="44"/>
                  </a:cubicBezTo>
                  <a:cubicBezTo>
                    <a:pt x="7" y="48"/>
                    <a:pt x="12" y="50"/>
                    <a:pt x="16" y="50"/>
                  </a:cubicBezTo>
                  <a:cubicBezTo>
                    <a:pt x="19" y="50"/>
                    <a:pt x="22" y="49"/>
                    <a:pt x="24" y="4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8" y="22"/>
                    <a:pt x="60" y="13"/>
                    <a:pt x="55" y="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Freeform 22">
              <a:extLst>
                <a:ext uri="{FF2B5EF4-FFF2-40B4-BE49-F238E27FC236}">
                  <a16:creationId xmlns:a16="http://schemas.microsoft.com/office/drawing/2014/main" id="{D60B1A1B-72F6-D90C-7D9F-076E87874C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5" y="758"/>
              <a:ext cx="97" cy="60"/>
            </a:xfrm>
            <a:custGeom>
              <a:avLst/>
              <a:gdLst>
                <a:gd name="T0" fmla="*/ 2 w 65"/>
                <a:gd name="T1" fmla="*/ 12 h 40"/>
                <a:gd name="T2" fmla="*/ 11 w 65"/>
                <a:gd name="T3" fmla="*/ 29 h 40"/>
                <a:gd name="T4" fmla="*/ 45 w 65"/>
                <a:gd name="T5" fmla="*/ 39 h 40"/>
                <a:gd name="T6" fmla="*/ 49 w 65"/>
                <a:gd name="T7" fmla="*/ 40 h 40"/>
                <a:gd name="T8" fmla="*/ 62 w 65"/>
                <a:gd name="T9" fmla="*/ 30 h 40"/>
                <a:gd name="T10" fmla="*/ 53 w 65"/>
                <a:gd name="T11" fmla="*/ 13 h 40"/>
                <a:gd name="T12" fmla="*/ 20 w 65"/>
                <a:gd name="T13" fmla="*/ 2 h 40"/>
                <a:gd name="T14" fmla="*/ 2 w 65"/>
                <a:gd name="T15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2" y="12"/>
                  </a:moveTo>
                  <a:cubicBezTo>
                    <a:pt x="0" y="19"/>
                    <a:pt x="4" y="27"/>
                    <a:pt x="11" y="2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40"/>
                    <a:pt x="48" y="40"/>
                    <a:pt x="49" y="40"/>
                  </a:cubicBezTo>
                  <a:cubicBezTo>
                    <a:pt x="55" y="40"/>
                    <a:pt x="60" y="36"/>
                    <a:pt x="62" y="30"/>
                  </a:cubicBezTo>
                  <a:cubicBezTo>
                    <a:pt x="65" y="23"/>
                    <a:pt x="60" y="15"/>
                    <a:pt x="53" y="1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2" y="0"/>
                    <a:pt x="4" y="4"/>
                    <a:pt x="2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Freeform 23">
              <a:extLst>
                <a:ext uri="{FF2B5EF4-FFF2-40B4-BE49-F238E27FC236}">
                  <a16:creationId xmlns:a16="http://schemas.microsoft.com/office/drawing/2014/main" id="{CF227D85-C0A0-9EC4-CD6B-5097FD0AD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1" y="521"/>
              <a:ext cx="90" cy="75"/>
            </a:xfrm>
            <a:custGeom>
              <a:avLst/>
              <a:gdLst>
                <a:gd name="T0" fmla="*/ 7 w 60"/>
                <a:gd name="T1" fmla="*/ 27 h 50"/>
                <a:gd name="T2" fmla="*/ 36 w 60"/>
                <a:gd name="T3" fmla="*/ 47 h 50"/>
                <a:gd name="T4" fmla="*/ 44 w 60"/>
                <a:gd name="T5" fmla="*/ 50 h 50"/>
                <a:gd name="T6" fmla="*/ 55 w 60"/>
                <a:gd name="T7" fmla="*/ 44 h 50"/>
                <a:gd name="T8" fmla="*/ 52 w 60"/>
                <a:gd name="T9" fmla="*/ 25 h 50"/>
                <a:gd name="T10" fmla="*/ 24 w 60"/>
                <a:gd name="T11" fmla="*/ 4 h 50"/>
                <a:gd name="T12" fmla="*/ 5 w 60"/>
                <a:gd name="T13" fmla="*/ 7 h 50"/>
                <a:gd name="T14" fmla="*/ 7 w 60"/>
                <a:gd name="T15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50">
                  <a:moveTo>
                    <a:pt x="7" y="2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8" y="49"/>
                    <a:pt x="41" y="50"/>
                    <a:pt x="44" y="50"/>
                  </a:cubicBezTo>
                  <a:cubicBezTo>
                    <a:pt x="48" y="50"/>
                    <a:pt x="52" y="48"/>
                    <a:pt x="55" y="44"/>
                  </a:cubicBezTo>
                  <a:cubicBezTo>
                    <a:pt x="60" y="38"/>
                    <a:pt x="58" y="30"/>
                    <a:pt x="52" y="25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18" y="0"/>
                    <a:pt x="9" y="1"/>
                    <a:pt x="5" y="7"/>
                  </a:cubicBezTo>
                  <a:cubicBezTo>
                    <a:pt x="0" y="13"/>
                    <a:pt x="1" y="22"/>
                    <a:pt x="7" y="2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Freeform 24">
              <a:extLst>
                <a:ext uri="{FF2B5EF4-FFF2-40B4-BE49-F238E27FC236}">
                  <a16:creationId xmlns:a16="http://schemas.microsoft.com/office/drawing/2014/main" id="{8417B01E-DEA0-B170-8207-36B20BB2D7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758"/>
              <a:ext cx="97" cy="60"/>
            </a:xfrm>
            <a:custGeom>
              <a:avLst/>
              <a:gdLst>
                <a:gd name="T0" fmla="*/ 16 w 65"/>
                <a:gd name="T1" fmla="*/ 40 h 40"/>
                <a:gd name="T2" fmla="*/ 20 w 65"/>
                <a:gd name="T3" fmla="*/ 39 h 40"/>
                <a:gd name="T4" fmla="*/ 53 w 65"/>
                <a:gd name="T5" fmla="*/ 29 h 40"/>
                <a:gd name="T6" fmla="*/ 63 w 65"/>
                <a:gd name="T7" fmla="*/ 12 h 40"/>
                <a:gd name="T8" fmla="*/ 45 w 65"/>
                <a:gd name="T9" fmla="*/ 2 h 40"/>
                <a:gd name="T10" fmla="*/ 12 w 65"/>
                <a:gd name="T11" fmla="*/ 13 h 40"/>
                <a:gd name="T12" fmla="*/ 2 w 65"/>
                <a:gd name="T13" fmla="*/ 30 h 40"/>
                <a:gd name="T14" fmla="*/ 16 w 65"/>
                <a:gd name="T1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40">
                  <a:moveTo>
                    <a:pt x="16" y="40"/>
                  </a:moveTo>
                  <a:cubicBezTo>
                    <a:pt x="17" y="40"/>
                    <a:pt x="18" y="40"/>
                    <a:pt x="20" y="3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61" y="27"/>
                    <a:pt x="65" y="19"/>
                    <a:pt x="63" y="12"/>
                  </a:cubicBezTo>
                  <a:cubicBezTo>
                    <a:pt x="60" y="4"/>
                    <a:pt x="52" y="0"/>
                    <a:pt x="45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4" y="15"/>
                    <a:pt x="0" y="23"/>
                    <a:pt x="2" y="30"/>
                  </a:cubicBezTo>
                  <a:cubicBezTo>
                    <a:pt x="4" y="36"/>
                    <a:pt x="10" y="40"/>
                    <a:pt x="16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0DE3C910-3C5B-2460-0065-6109DC4011D4}"/>
              </a:ext>
            </a:extLst>
          </p:cNvPr>
          <p:cNvSpPr/>
          <p:nvPr/>
        </p:nvSpPr>
        <p:spPr bwMode="gray">
          <a:xfrm>
            <a:off x="11345162" y="1735736"/>
            <a:ext cx="416414" cy="386787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F7515F3D-6568-6204-162B-5B18F1E3BD03}"/>
              </a:ext>
            </a:extLst>
          </p:cNvPr>
          <p:cNvCxnSpPr>
            <a:cxnSpLocks/>
          </p:cNvCxnSpPr>
          <p:nvPr/>
        </p:nvCxnSpPr>
        <p:spPr>
          <a:xfrm>
            <a:off x="6064125" y="1516828"/>
            <a:ext cx="0" cy="5100294"/>
          </a:xfrm>
          <a:prstGeom prst="line">
            <a:avLst/>
          </a:prstGeom>
          <a:noFill/>
          <a:ln w="38100" cap="flat" cmpd="sng" algn="ctr">
            <a:solidFill>
              <a:schemeClr val="accent1"/>
            </a:solidFill>
            <a:prstDash val="solid"/>
          </a:ln>
          <a:effectLst/>
        </p:spPr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F96E8790-0CC7-280E-C0D6-74B4B3B46481}"/>
              </a:ext>
            </a:extLst>
          </p:cNvPr>
          <p:cNvSpPr txBox="1"/>
          <p:nvPr/>
        </p:nvSpPr>
        <p:spPr>
          <a:xfrm>
            <a:off x="544379" y="2051416"/>
            <a:ext cx="5208089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/>
              <a:t>Top words among the snowboarding community had more to do with gear, performance, technique, or the experience </a:t>
            </a:r>
            <a:r>
              <a:rPr lang="en-US" sz="1600" b="1" i="1" dirty="0"/>
              <a:t>in or during </a:t>
            </a:r>
            <a:r>
              <a:rPr lang="en-US" sz="1600" dirty="0"/>
              <a:t>the activity. </a:t>
            </a:r>
            <a:endParaRPr lang="en-US" sz="1600" b="1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460963C-7FEB-52FF-2D95-822AB75837F7}"/>
              </a:ext>
            </a:extLst>
          </p:cNvPr>
          <p:cNvSpPr/>
          <p:nvPr/>
        </p:nvSpPr>
        <p:spPr bwMode="gray">
          <a:xfrm>
            <a:off x="6351792" y="1999512"/>
            <a:ext cx="5219559" cy="4534018"/>
          </a:xfrm>
          <a:prstGeom prst="rect">
            <a:avLst/>
          </a:prstGeom>
          <a:solidFill>
            <a:srgbClr val="0BD0D9">
              <a:alpha val="15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2F3AD1D-AF7E-A74A-B790-A43973997A21}"/>
              </a:ext>
            </a:extLst>
          </p:cNvPr>
          <p:cNvSpPr txBox="1"/>
          <p:nvPr/>
        </p:nvSpPr>
        <p:spPr>
          <a:xfrm>
            <a:off x="6372578" y="2045670"/>
            <a:ext cx="5208089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/>
              <a:t>Top words among the skiing community aligned more with the experience </a:t>
            </a:r>
            <a:r>
              <a:rPr lang="en-US" sz="1600" b="1" i="1" dirty="0"/>
              <a:t>around</a:t>
            </a:r>
            <a:r>
              <a:rPr lang="en-US" sz="1600" dirty="0"/>
              <a:t> the activity, such as the best place to go, the best time of year, the best passes to get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50E5D87-055F-B158-F1E0-6D044BC98F69}"/>
              </a:ext>
            </a:extLst>
          </p:cNvPr>
          <p:cNvSpPr/>
          <p:nvPr/>
        </p:nvSpPr>
        <p:spPr bwMode="gray">
          <a:xfrm>
            <a:off x="6384066" y="1714299"/>
            <a:ext cx="5219559" cy="299507"/>
          </a:xfrm>
          <a:prstGeom prst="rect">
            <a:avLst/>
          </a:prstGeom>
          <a:solidFill>
            <a:srgbClr val="0070C0">
              <a:alpha val="65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r>
              <a:rPr lang="en-US" sz="1600" b="1" dirty="0">
                <a:solidFill>
                  <a:schemeClr val="bg1"/>
                </a:solidFill>
              </a:rPr>
              <a:t>Skiers 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7A6696B0-6C32-2571-C89D-25356DBF4E7B}"/>
              </a:ext>
            </a:extLst>
          </p:cNvPr>
          <p:cNvGrpSpPr/>
          <p:nvPr/>
        </p:nvGrpSpPr>
        <p:grpSpPr>
          <a:xfrm>
            <a:off x="2070292" y="1033349"/>
            <a:ext cx="8051417" cy="391878"/>
            <a:chOff x="2695472" y="1033349"/>
            <a:chExt cx="8051417" cy="391878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B34F3A96-DFCD-D2FB-9AB1-2A6C1E9580BE}"/>
                </a:ext>
              </a:extLst>
            </p:cNvPr>
            <p:cNvCxnSpPr>
              <a:cxnSpLocks/>
            </p:cNvCxnSpPr>
            <p:nvPr/>
          </p:nvCxnSpPr>
          <p:spPr>
            <a:xfrm>
              <a:off x="2695472" y="1229288"/>
              <a:ext cx="8051417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 Placeholder 1">
              <a:extLst>
                <a:ext uri="{FF2B5EF4-FFF2-40B4-BE49-F238E27FC236}">
                  <a16:creationId xmlns:a16="http://schemas.microsoft.com/office/drawing/2014/main" id="{46708404-E398-212E-BE8C-8160C5256897}"/>
                </a:ext>
              </a:extLst>
            </p:cNvPr>
            <p:cNvSpPr txBox="1">
              <a:spLocks/>
            </p:cNvSpPr>
            <p:nvPr/>
          </p:nvSpPr>
          <p:spPr>
            <a:xfrm>
              <a:off x="4589674" y="1033349"/>
              <a:ext cx="4263012" cy="391878"/>
            </a:xfrm>
            <a:prstGeom prst="rect">
              <a:avLst/>
            </a:prstGeom>
            <a:solidFill>
              <a:schemeClr val="tx1"/>
            </a:solidFill>
          </p:spPr>
          <p:txBody>
            <a:bodyPr/>
            <a:lstStyle>
              <a:lvl1pPr marL="0" indent="0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SzPct val="100000"/>
                <a:buFont typeface="Arial" panose="020B0604020202020204" pitchFamily="34" charset="0"/>
                <a:buNone/>
                <a:defRPr sz="12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Arial"/>
                <a:buNone/>
                <a:defRPr lang="en-US" sz="1200" b="1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35194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Arial" panose="020B0604020202020204" pitchFamily="34" charset="0"/>
                <a:buChar char="•"/>
                <a:defRPr lang="en-US" sz="12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75188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Verdana" panose="020B0604030504040204" pitchFamily="34" charset="0"/>
                <a:buChar char="−"/>
                <a:defRPr lang="en-US" sz="1200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0382" indent="-235194" algn="l" defTabSz="1064657" rtl="0" eaLnBrk="1" latinLnBrk="0" hangingPunct="1">
                <a:spcBef>
                  <a:spcPts val="0"/>
                </a:spcBef>
                <a:spcAft>
                  <a:spcPts val="1333"/>
                </a:spcAft>
                <a:buClrTx/>
                <a:buSzPct val="100000"/>
                <a:buFont typeface="Verdana" panose="020B0604030504040204" pitchFamily="34" charset="0"/>
                <a:buChar char="−"/>
                <a:tabLst/>
                <a:defRPr lang="en-US" sz="1200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0382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0382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10382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10382" indent="-235194" algn="l" defTabSz="1219170" rtl="0" eaLnBrk="1" latinLnBrk="0" hangingPunct="1">
                <a:spcBef>
                  <a:spcPts val="0"/>
                </a:spcBef>
                <a:spcAft>
                  <a:spcPts val="1333"/>
                </a:spcAft>
                <a:buFont typeface="Verdana" panose="020B0604030504040204" pitchFamily="34" charset="0"/>
                <a:buChar char="−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800" b="1" dirty="0">
                  <a:solidFill>
                    <a:schemeClr val="bg1"/>
                  </a:solidFill>
                </a:rPr>
                <a:t>Community Engagement</a:t>
              </a:r>
            </a:p>
          </p:txBody>
        </p:sp>
      </p:grpSp>
      <p:pic>
        <p:nvPicPr>
          <p:cNvPr id="10246" name="Picture 6" descr="Snowboarder Icon 34496">
            <a:extLst>
              <a:ext uri="{FF2B5EF4-FFF2-40B4-BE49-F238E27FC236}">
                <a16:creationId xmlns:a16="http://schemas.microsoft.com/office/drawing/2014/main" id="{87C937E1-2CB9-31AD-6612-7B942A907C7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48" t="16165" r="21025" b="16898"/>
          <a:stretch/>
        </p:blipFill>
        <p:spPr bwMode="auto">
          <a:xfrm>
            <a:off x="1379613" y="790462"/>
            <a:ext cx="867604" cy="975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8" name="Picture 8" descr="skier Icon 104424">
            <a:extLst>
              <a:ext uri="{FF2B5EF4-FFF2-40B4-BE49-F238E27FC236}">
                <a16:creationId xmlns:a16="http://schemas.microsoft.com/office/drawing/2014/main" id="{AD4ECD29-40DB-D0E1-4C08-BEE213DB175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47" t="30517" r="17184" b="25962"/>
          <a:stretch/>
        </p:blipFill>
        <p:spPr bwMode="auto">
          <a:xfrm>
            <a:off x="9692374" y="892514"/>
            <a:ext cx="1286438" cy="882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645B07A2-D8FC-5513-0C58-C6C04C7551E4}"/>
              </a:ext>
            </a:extLst>
          </p:cNvPr>
          <p:cNvSpPr/>
          <p:nvPr/>
        </p:nvSpPr>
        <p:spPr bwMode="gray">
          <a:xfrm>
            <a:off x="536114" y="1717472"/>
            <a:ext cx="5219559" cy="299507"/>
          </a:xfrm>
          <a:prstGeom prst="rect">
            <a:avLst/>
          </a:prstGeom>
          <a:solidFill>
            <a:srgbClr val="00B050">
              <a:alpha val="65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r>
              <a:rPr lang="en-US" sz="1600" b="1" dirty="0">
                <a:solidFill>
                  <a:schemeClr val="bg1"/>
                </a:solidFill>
              </a:rPr>
              <a:t>Snowboarders</a:t>
            </a:r>
          </a:p>
        </p:txBody>
      </p:sp>
      <p:sp>
        <p:nvSpPr>
          <p:cNvPr id="30" name="Freeform 91">
            <a:extLst>
              <a:ext uri="{FF2B5EF4-FFF2-40B4-BE49-F238E27FC236}">
                <a16:creationId xmlns:a16="http://schemas.microsoft.com/office/drawing/2014/main" id="{2FF1AF2E-1831-0529-02E9-AD81148C284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090043" y="3385033"/>
            <a:ext cx="1419765" cy="1081843"/>
          </a:xfrm>
          <a:custGeom>
            <a:avLst/>
            <a:gdLst>
              <a:gd name="T0" fmla="*/ 171 w 211"/>
              <a:gd name="T1" fmla="*/ 3 h 190"/>
              <a:gd name="T2" fmla="*/ 194 w 211"/>
              <a:gd name="T3" fmla="*/ 6 h 190"/>
              <a:gd name="T4" fmla="*/ 207 w 211"/>
              <a:gd name="T5" fmla="*/ 22 h 190"/>
              <a:gd name="T6" fmla="*/ 208 w 211"/>
              <a:gd name="T7" fmla="*/ 42 h 190"/>
              <a:gd name="T8" fmla="*/ 209 w 211"/>
              <a:gd name="T9" fmla="*/ 65 h 190"/>
              <a:gd name="T10" fmla="*/ 209 w 211"/>
              <a:gd name="T11" fmla="*/ 83 h 190"/>
              <a:gd name="T12" fmla="*/ 210 w 211"/>
              <a:gd name="T13" fmla="*/ 102 h 190"/>
              <a:gd name="T14" fmla="*/ 208 w 211"/>
              <a:gd name="T15" fmla="*/ 114 h 190"/>
              <a:gd name="T16" fmla="*/ 209 w 211"/>
              <a:gd name="T17" fmla="*/ 134 h 190"/>
              <a:gd name="T18" fmla="*/ 196 w 211"/>
              <a:gd name="T19" fmla="*/ 151 h 190"/>
              <a:gd name="T20" fmla="*/ 167 w 211"/>
              <a:gd name="T21" fmla="*/ 153 h 190"/>
              <a:gd name="T22" fmla="*/ 147 w 211"/>
              <a:gd name="T23" fmla="*/ 161 h 190"/>
              <a:gd name="T24" fmla="*/ 156 w 211"/>
              <a:gd name="T25" fmla="*/ 180 h 190"/>
              <a:gd name="T26" fmla="*/ 148 w 211"/>
              <a:gd name="T27" fmla="*/ 183 h 190"/>
              <a:gd name="T28" fmla="*/ 121 w 211"/>
              <a:gd name="T29" fmla="*/ 165 h 190"/>
              <a:gd name="T30" fmla="*/ 84 w 211"/>
              <a:gd name="T31" fmla="*/ 156 h 190"/>
              <a:gd name="T32" fmla="*/ 69 w 211"/>
              <a:gd name="T33" fmla="*/ 152 h 190"/>
              <a:gd name="T34" fmla="*/ 11 w 211"/>
              <a:gd name="T35" fmla="*/ 151 h 190"/>
              <a:gd name="T36" fmla="*/ 2 w 211"/>
              <a:gd name="T37" fmla="*/ 124 h 190"/>
              <a:gd name="T38" fmla="*/ 2 w 211"/>
              <a:gd name="T39" fmla="*/ 108 h 190"/>
              <a:gd name="T40" fmla="*/ 2 w 211"/>
              <a:gd name="T41" fmla="*/ 99 h 190"/>
              <a:gd name="T42" fmla="*/ 3 w 211"/>
              <a:gd name="T43" fmla="*/ 93 h 190"/>
              <a:gd name="T44" fmla="*/ 3 w 211"/>
              <a:gd name="T45" fmla="*/ 75 h 190"/>
              <a:gd name="T46" fmla="*/ 4 w 211"/>
              <a:gd name="T47" fmla="*/ 69 h 190"/>
              <a:gd name="T48" fmla="*/ 4 w 211"/>
              <a:gd name="T49" fmla="*/ 50 h 190"/>
              <a:gd name="T50" fmla="*/ 5 w 211"/>
              <a:gd name="T51" fmla="*/ 30 h 190"/>
              <a:gd name="T52" fmla="*/ 6 w 211"/>
              <a:gd name="T53" fmla="*/ 16 h 190"/>
              <a:gd name="T54" fmla="*/ 10 w 211"/>
              <a:gd name="T55" fmla="*/ 7 h 190"/>
              <a:gd name="T56" fmla="*/ 21 w 211"/>
              <a:gd name="T57" fmla="*/ 4 h 190"/>
              <a:gd name="T58" fmla="*/ 55 w 211"/>
              <a:gd name="T59" fmla="*/ 4 h 190"/>
              <a:gd name="T60" fmla="*/ 73 w 211"/>
              <a:gd name="T61" fmla="*/ 2 h 190"/>
              <a:gd name="T62" fmla="*/ 109 w 211"/>
              <a:gd name="T63" fmla="*/ 2 h 190"/>
              <a:gd name="T64" fmla="*/ 202 w 211"/>
              <a:gd name="T65" fmla="*/ 148 h 190"/>
              <a:gd name="T66" fmla="*/ 9 w 211"/>
              <a:gd name="T67" fmla="*/ 10 h 190"/>
              <a:gd name="T68" fmla="*/ 182 w 211"/>
              <a:gd name="T69" fmla="*/ 2 h 190"/>
              <a:gd name="T70" fmla="*/ 67 w 211"/>
              <a:gd name="T71" fmla="*/ 3 h 190"/>
              <a:gd name="T72" fmla="*/ 44 w 211"/>
              <a:gd name="T73" fmla="*/ 4 h 190"/>
              <a:gd name="T74" fmla="*/ 27 w 211"/>
              <a:gd name="T75" fmla="*/ 4 h 190"/>
              <a:gd name="T76" fmla="*/ 26 w 211"/>
              <a:gd name="T77" fmla="*/ 4 h 190"/>
              <a:gd name="T78" fmla="*/ 19 w 211"/>
              <a:gd name="T79" fmla="*/ 6 h 190"/>
              <a:gd name="T80" fmla="*/ 10 w 211"/>
              <a:gd name="T81" fmla="*/ 9 h 190"/>
              <a:gd name="T82" fmla="*/ 8 w 211"/>
              <a:gd name="T83" fmla="*/ 11 h 190"/>
              <a:gd name="T84" fmla="*/ 6 w 211"/>
              <a:gd name="T85" fmla="*/ 18 h 190"/>
              <a:gd name="T86" fmla="*/ 206 w 211"/>
              <a:gd name="T87" fmla="*/ 22 h 190"/>
              <a:gd name="T88" fmla="*/ 4 w 211"/>
              <a:gd name="T89" fmla="*/ 34 h 190"/>
              <a:gd name="T90" fmla="*/ 205 w 211"/>
              <a:gd name="T91" fmla="*/ 49 h 190"/>
              <a:gd name="T92" fmla="*/ 4 w 211"/>
              <a:gd name="T93" fmla="*/ 70 h 190"/>
              <a:gd name="T94" fmla="*/ 4 w 211"/>
              <a:gd name="T95" fmla="*/ 75 h 190"/>
              <a:gd name="T96" fmla="*/ 207 w 211"/>
              <a:gd name="T97" fmla="*/ 92 h 190"/>
              <a:gd name="T98" fmla="*/ 3 w 211"/>
              <a:gd name="T99" fmla="*/ 95 h 190"/>
              <a:gd name="T100" fmla="*/ 2 w 211"/>
              <a:gd name="T101" fmla="*/ 103 h 190"/>
              <a:gd name="T102" fmla="*/ 5 w 211"/>
              <a:gd name="T103" fmla="*/ 112 h 190"/>
              <a:gd name="T104" fmla="*/ 207 w 211"/>
              <a:gd name="T105" fmla="*/ 115 h 190"/>
              <a:gd name="T106" fmla="*/ 2 w 211"/>
              <a:gd name="T107" fmla="*/ 118 h 190"/>
              <a:gd name="T108" fmla="*/ 4 w 211"/>
              <a:gd name="T109" fmla="*/ 133 h 190"/>
              <a:gd name="T110" fmla="*/ 149 w 211"/>
              <a:gd name="T111" fmla="*/ 165 h 190"/>
              <a:gd name="T112" fmla="*/ 159 w 211"/>
              <a:gd name="T113" fmla="*/ 188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11" h="190">
                <a:moveTo>
                  <a:pt x="124" y="1"/>
                </a:moveTo>
                <a:cubicBezTo>
                  <a:pt x="125" y="1"/>
                  <a:pt x="124" y="1"/>
                  <a:pt x="124" y="1"/>
                </a:cubicBezTo>
                <a:cubicBezTo>
                  <a:pt x="132" y="0"/>
                  <a:pt x="142" y="2"/>
                  <a:pt x="154" y="1"/>
                </a:cubicBezTo>
                <a:cubicBezTo>
                  <a:pt x="154" y="1"/>
                  <a:pt x="153" y="1"/>
                  <a:pt x="153" y="1"/>
                </a:cubicBezTo>
                <a:cubicBezTo>
                  <a:pt x="154" y="1"/>
                  <a:pt x="154" y="1"/>
                  <a:pt x="154" y="2"/>
                </a:cubicBezTo>
                <a:cubicBezTo>
                  <a:pt x="154" y="1"/>
                  <a:pt x="155" y="1"/>
                  <a:pt x="155" y="2"/>
                </a:cubicBezTo>
                <a:cubicBezTo>
                  <a:pt x="156" y="1"/>
                  <a:pt x="165" y="0"/>
                  <a:pt x="166" y="3"/>
                </a:cubicBezTo>
                <a:cubicBezTo>
                  <a:pt x="167" y="1"/>
                  <a:pt x="170" y="4"/>
                  <a:pt x="171" y="3"/>
                </a:cubicBezTo>
                <a:cubicBezTo>
                  <a:pt x="172" y="3"/>
                  <a:pt x="172" y="4"/>
                  <a:pt x="174" y="3"/>
                </a:cubicBezTo>
                <a:cubicBezTo>
                  <a:pt x="174" y="2"/>
                  <a:pt x="172" y="4"/>
                  <a:pt x="172" y="3"/>
                </a:cubicBezTo>
                <a:cubicBezTo>
                  <a:pt x="171" y="3"/>
                  <a:pt x="175" y="2"/>
                  <a:pt x="175" y="3"/>
                </a:cubicBezTo>
                <a:cubicBezTo>
                  <a:pt x="176" y="2"/>
                  <a:pt x="179" y="3"/>
                  <a:pt x="180" y="2"/>
                </a:cubicBezTo>
                <a:cubicBezTo>
                  <a:pt x="181" y="2"/>
                  <a:pt x="188" y="2"/>
                  <a:pt x="188" y="4"/>
                </a:cubicBezTo>
                <a:cubicBezTo>
                  <a:pt x="189" y="3"/>
                  <a:pt x="189" y="4"/>
                  <a:pt x="189" y="4"/>
                </a:cubicBezTo>
                <a:cubicBezTo>
                  <a:pt x="191" y="4"/>
                  <a:pt x="192" y="5"/>
                  <a:pt x="195" y="4"/>
                </a:cubicBezTo>
                <a:cubicBezTo>
                  <a:pt x="194" y="5"/>
                  <a:pt x="195" y="5"/>
                  <a:pt x="194" y="6"/>
                </a:cubicBezTo>
                <a:cubicBezTo>
                  <a:pt x="196" y="8"/>
                  <a:pt x="202" y="6"/>
                  <a:pt x="202" y="8"/>
                </a:cubicBezTo>
                <a:cubicBezTo>
                  <a:pt x="202" y="8"/>
                  <a:pt x="202" y="8"/>
                  <a:pt x="203" y="8"/>
                </a:cubicBezTo>
                <a:cubicBezTo>
                  <a:pt x="203" y="8"/>
                  <a:pt x="203" y="8"/>
                  <a:pt x="202" y="8"/>
                </a:cubicBezTo>
                <a:cubicBezTo>
                  <a:pt x="204" y="9"/>
                  <a:pt x="205" y="11"/>
                  <a:pt x="207" y="12"/>
                </a:cubicBezTo>
                <a:cubicBezTo>
                  <a:pt x="206" y="13"/>
                  <a:pt x="207" y="13"/>
                  <a:pt x="208" y="14"/>
                </a:cubicBezTo>
                <a:cubicBezTo>
                  <a:pt x="207" y="16"/>
                  <a:pt x="207" y="17"/>
                  <a:pt x="208" y="19"/>
                </a:cubicBezTo>
                <a:cubicBezTo>
                  <a:pt x="208" y="19"/>
                  <a:pt x="208" y="19"/>
                  <a:pt x="207" y="19"/>
                </a:cubicBezTo>
                <a:cubicBezTo>
                  <a:pt x="207" y="20"/>
                  <a:pt x="208" y="21"/>
                  <a:pt x="207" y="22"/>
                </a:cubicBezTo>
                <a:cubicBezTo>
                  <a:pt x="210" y="24"/>
                  <a:pt x="209" y="27"/>
                  <a:pt x="209" y="30"/>
                </a:cubicBezTo>
                <a:cubicBezTo>
                  <a:pt x="207" y="29"/>
                  <a:pt x="208" y="31"/>
                  <a:pt x="207" y="32"/>
                </a:cubicBezTo>
                <a:cubicBezTo>
                  <a:pt x="208" y="32"/>
                  <a:pt x="207" y="32"/>
                  <a:pt x="207" y="33"/>
                </a:cubicBezTo>
                <a:cubicBezTo>
                  <a:pt x="208" y="33"/>
                  <a:pt x="209" y="35"/>
                  <a:pt x="209" y="37"/>
                </a:cubicBezTo>
                <a:cubicBezTo>
                  <a:pt x="209" y="38"/>
                  <a:pt x="208" y="37"/>
                  <a:pt x="208" y="38"/>
                </a:cubicBezTo>
                <a:cubicBezTo>
                  <a:pt x="208" y="37"/>
                  <a:pt x="207" y="40"/>
                  <a:pt x="207" y="38"/>
                </a:cubicBezTo>
                <a:cubicBezTo>
                  <a:pt x="206" y="38"/>
                  <a:pt x="207" y="40"/>
                  <a:pt x="208" y="39"/>
                </a:cubicBezTo>
                <a:cubicBezTo>
                  <a:pt x="207" y="40"/>
                  <a:pt x="207" y="41"/>
                  <a:pt x="208" y="42"/>
                </a:cubicBezTo>
                <a:cubicBezTo>
                  <a:pt x="208" y="42"/>
                  <a:pt x="207" y="42"/>
                  <a:pt x="206" y="42"/>
                </a:cubicBezTo>
                <a:cubicBezTo>
                  <a:pt x="206" y="43"/>
                  <a:pt x="207" y="43"/>
                  <a:pt x="207" y="42"/>
                </a:cubicBezTo>
                <a:cubicBezTo>
                  <a:pt x="207" y="45"/>
                  <a:pt x="208" y="46"/>
                  <a:pt x="207" y="48"/>
                </a:cubicBezTo>
                <a:cubicBezTo>
                  <a:pt x="206" y="48"/>
                  <a:pt x="207" y="50"/>
                  <a:pt x="206" y="49"/>
                </a:cubicBezTo>
                <a:cubicBezTo>
                  <a:pt x="206" y="49"/>
                  <a:pt x="206" y="50"/>
                  <a:pt x="205" y="50"/>
                </a:cubicBezTo>
                <a:cubicBezTo>
                  <a:pt x="208" y="51"/>
                  <a:pt x="206" y="55"/>
                  <a:pt x="209" y="56"/>
                </a:cubicBezTo>
                <a:cubicBezTo>
                  <a:pt x="208" y="56"/>
                  <a:pt x="208" y="56"/>
                  <a:pt x="208" y="56"/>
                </a:cubicBezTo>
                <a:cubicBezTo>
                  <a:pt x="210" y="59"/>
                  <a:pt x="208" y="61"/>
                  <a:pt x="209" y="65"/>
                </a:cubicBezTo>
                <a:cubicBezTo>
                  <a:pt x="209" y="66"/>
                  <a:pt x="209" y="65"/>
                  <a:pt x="208" y="65"/>
                </a:cubicBezTo>
                <a:cubicBezTo>
                  <a:pt x="208" y="65"/>
                  <a:pt x="209" y="65"/>
                  <a:pt x="209" y="66"/>
                </a:cubicBezTo>
                <a:cubicBezTo>
                  <a:pt x="208" y="65"/>
                  <a:pt x="208" y="67"/>
                  <a:pt x="209" y="68"/>
                </a:cubicBezTo>
                <a:cubicBezTo>
                  <a:pt x="208" y="68"/>
                  <a:pt x="208" y="68"/>
                  <a:pt x="208" y="67"/>
                </a:cubicBezTo>
                <a:cubicBezTo>
                  <a:pt x="207" y="68"/>
                  <a:pt x="209" y="69"/>
                  <a:pt x="209" y="70"/>
                </a:cubicBezTo>
                <a:cubicBezTo>
                  <a:pt x="207" y="74"/>
                  <a:pt x="210" y="77"/>
                  <a:pt x="209" y="82"/>
                </a:cubicBezTo>
                <a:cubicBezTo>
                  <a:pt x="211" y="81"/>
                  <a:pt x="208" y="82"/>
                  <a:pt x="210" y="82"/>
                </a:cubicBezTo>
                <a:cubicBezTo>
                  <a:pt x="209" y="83"/>
                  <a:pt x="209" y="83"/>
                  <a:pt x="209" y="83"/>
                </a:cubicBezTo>
                <a:cubicBezTo>
                  <a:pt x="209" y="84"/>
                  <a:pt x="209" y="86"/>
                  <a:pt x="209" y="87"/>
                </a:cubicBezTo>
                <a:cubicBezTo>
                  <a:pt x="209" y="88"/>
                  <a:pt x="209" y="88"/>
                  <a:pt x="209" y="89"/>
                </a:cubicBezTo>
                <a:cubicBezTo>
                  <a:pt x="209" y="89"/>
                  <a:pt x="209" y="89"/>
                  <a:pt x="209" y="89"/>
                </a:cubicBezTo>
                <a:cubicBezTo>
                  <a:pt x="209" y="89"/>
                  <a:pt x="209" y="90"/>
                  <a:pt x="208" y="90"/>
                </a:cubicBezTo>
                <a:cubicBezTo>
                  <a:pt x="208" y="92"/>
                  <a:pt x="208" y="93"/>
                  <a:pt x="207" y="94"/>
                </a:cubicBezTo>
                <a:cubicBezTo>
                  <a:pt x="207" y="94"/>
                  <a:pt x="208" y="94"/>
                  <a:pt x="208" y="94"/>
                </a:cubicBezTo>
                <a:cubicBezTo>
                  <a:pt x="209" y="94"/>
                  <a:pt x="208" y="95"/>
                  <a:pt x="209" y="95"/>
                </a:cubicBezTo>
                <a:cubicBezTo>
                  <a:pt x="209" y="98"/>
                  <a:pt x="210" y="100"/>
                  <a:pt x="210" y="102"/>
                </a:cubicBezTo>
                <a:cubicBezTo>
                  <a:pt x="210" y="103"/>
                  <a:pt x="209" y="103"/>
                  <a:pt x="209" y="104"/>
                </a:cubicBezTo>
                <a:cubicBezTo>
                  <a:pt x="208" y="104"/>
                  <a:pt x="208" y="103"/>
                  <a:pt x="208" y="103"/>
                </a:cubicBezTo>
                <a:cubicBezTo>
                  <a:pt x="208" y="104"/>
                  <a:pt x="209" y="107"/>
                  <a:pt x="209" y="106"/>
                </a:cubicBezTo>
                <a:cubicBezTo>
                  <a:pt x="210" y="106"/>
                  <a:pt x="210" y="107"/>
                  <a:pt x="210" y="107"/>
                </a:cubicBezTo>
                <a:cubicBezTo>
                  <a:pt x="209" y="107"/>
                  <a:pt x="209" y="112"/>
                  <a:pt x="209" y="114"/>
                </a:cubicBezTo>
                <a:cubicBezTo>
                  <a:pt x="208" y="113"/>
                  <a:pt x="209" y="114"/>
                  <a:pt x="208" y="114"/>
                </a:cubicBezTo>
                <a:cubicBezTo>
                  <a:pt x="208" y="114"/>
                  <a:pt x="208" y="114"/>
                  <a:pt x="208" y="114"/>
                </a:cubicBezTo>
                <a:cubicBezTo>
                  <a:pt x="208" y="114"/>
                  <a:pt x="208" y="114"/>
                  <a:pt x="208" y="114"/>
                </a:cubicBezTo>
                <a:cubicBezTo>
                  <a:pt x="208" y="115"/>
                  <a:pt x="208" y="115"/>
                  <a:pt x="208" y="116"/>
                </a:cubicBezTo>
                <a:cubicBezTo>
                  <a:pt x="208" y="115"/>
                  <a:pt x="209" y="115"/>
                  <a:pt x="209" y="115"/>
                </a:cubicBezTo>
                <a:cubicBezTo>
                  <a:pt x="209" y="118"/>
                  <a:pt x="209" y="126"/>
                  <a:pt x="209" y="128"/>
                </a:cubicBezTo>
                <a:cubicBezTo>
                  <a:pt x="208" y="127"/>
                  <a:pt x="208" y="128"/>
                  <a:pt x="208" y="128"/>
                </a:cubicBezTo>
                <a:cubicBezTo>
                  <a:pt x="209" y="128"/>
                  <a:pt x="208" y="128"/>
                  <a:pt x="208" y="129"/>
                </a:cubicBezTo>
                <a:cubicBezTo>
                  <a:pt x="209" y="128"/>
                  <a:pt x="208" y="134"/>
                  <a:pt x="210" y="133"/>
                </a:cubicBezTo>
                <a:cubicBezTo>
                  <a:pt x="210" y="134"/>
                  <a:pt x="210" y="134"/>
                  <a:pt x="210" y="134"/>
                </a:cubicBezTo>
                <a:cubicBezTo>
                  <a:pt x="211" y="134"/>
                  <a:pt x="210" y="135"/>
                  <a:pt x="209" y="134"/>
                </a:cubicBezTo>
                <a:cubicBezTo>
                  <a:pt x="210" y="137"/>
                  <a:pt x="210" y="145"/>
                  <a:pt x="207" y="146"/>
                </a:cubicBezTo>
                <a:cubicBezTo>
                  <a:pt x="206" y="146"/>
                  <a:pt x="207" y="147"/>
                  <a:pt x="207" y="147"/>
                </a:cubicBezTo>
                <a:cubicBezTo>
                  <a:pt x="207" y="148"/>
                  <a:pt x="207" y="146"/>
                  <a:pt x="206" y="146"/>
                </a:cubicBezTo>
                <a:cubicBezTo>
                  <a:pt x="205" y="148"/>
                  <a:pt x="203" y="148"/>
                  <a:pt x="202" y="149"/>
                </a:cubicBezTo>
                <a:cubicBezTo>
                  <a:pt x="201" y="149"/>
                  <a:pt x="201" y="148"/>
                  <a:pt x="201" y="148"/>
                </a:cubicBezTo>
                <a:cubicBezTo>
                  <a:pt x="200" y="149"/>
                  <a:pt x="200" y="149"/>
                  <a:pt x="198" y="149"/>
                </a:cubicBezTo>
                <a:cubicBezTo>
                  <a:pt x="199" y="150"/>
                  <a:pt x="197" y="150"/>
                  <a:pt x="196" y="150"/>
                </a:cubicBezTo>
                <a:cubicBezTo>
                  <a:pt x="196" y="150"/>
                  <a:pt x="196" y="151"/>
                  <a:pt x="196" y="151"/>
                </a:cubicBezTo>
                <a:cubicBezTo>
                  <a:pt x="191" y="151"/>
                  <a:pt x="182" y="154"/>
                  <a:pt x="179" y="150"/>
                </a:cubicBezTo>
                <a:cubicBezTo>
                  <a:pt x="178" y="151"/>
                  <a:pt x="177" y="152"/>
                  <a:pt x="176" y="151"/>
                </a:cubicBezTo>
                <a:cubicBezTo>
                  <a:pt x="176" y="151"/>
                  <a:pt x="176" y="151"/>
                  <a:pt x="176" y="151"/>
                </a:cubicBezTo>
                <a:cubicBezTo>
                  <a:pt x="176" y="152"/>
                  <a:pt x="174" y="150"/>
                  <a:pt x="173" y="152"/>
                </a:cubicBezTo>
                <a:cubicBezTo>
                  <a:pt x="173" y="151"/>
                  <a:pt x="173" y="151"/>
                  <a:pt x="173" y="151"/>
                </a:cubicBezTo>
                <a:cubicBezTo>
                  <a:pt x="173" y="151"/>
                  <a:pt x="172" y="151"/>
                  <a:pt x="172" y="151"/>
                </a:cubicBezTo>
                <a:cubicBezTo>
                  <a:pt x="173" y="152"/>
                  <a:pt x="170" y="153"/>
                  <a:pt x="169" y="152"/>
                </a:cubicBezTo>
                <a:cubicBezTo>
                  <a:pt x="170" y="153"/>
                  <a:pt x="168" y="153"/>
                  <a:pt x="167" y="153"/>
                </a:cubicBezTo>
                <a:cubicBezTo>
                  <a:pt x="167" y="152"/>
                  <a:pt x="166" y="152"/>
                  <a:pt x="166" y="151"/>
                </a:cubicBezTo>
                <a:cubicBezTo>
                  <a:pt x="165" y="152"/>
                  <a:pt x="166" y="153"/>
                  <a:pt x="165" y="152"/>
                </a:cubicBezTo>
                <a:cubicBezTo>
                  <a:pt x="162" y="155"/>
                  <a:pt x="150" y="151"/>
                  <a:pt x="146" y="155"/>
                </a:cubicBezTo>
                <a:cubicBezTo>
                  <a:pt x="147" y="156"/>
                  <a:pt x="147" y="156"/>
                  <a:pt x="146" y="156"/>
                </a:cubicBezTo>
                <a:cubicBezTo>
                  <a:pt x="146" y="157"/>
                  <a:pt x="147" y="157"/>
                  <a:pt x="146" y="158"/>
                </a:cubicBezTo>
                <a:cubicBezTo>
                  <a:pt x="147" y="158"/>
                  <a:pt x="147" y="158"/>
                  <a:pt x="147" y="160"/>
                </a:cubicBezTo>
                <a:cubicBezTo>
                  <a:pt x="147" y="160"/>
                  <a:pt x="147" y="159"/>
                  <a:pt x="146" y="159"/>
                </a:cubicBezTo>
                <a:cubicBezTo>
                  <a:pt x="146" y="160"/>
                  <a:pt x="149" y="162"/>
                  <a:pt x="147" y="161"/>
                </a:cubicBezTo>
                <a:cubicBezTo>
                  <a:pt x="150" y="163"/>
                  <a:pt x="151" y="168"/>
                  <a:pt x="152" y="170"/>
                </a:cubicBezTo>
                <a:cubicBezTo>
                  <a:pt x="152" y="171"/>
                  <a:pt x="152" y="170"/>
                  <a:pt x="151" y="171"/>
                </a:cubicBezTo>
                <a:cubicBezTo>
                  <a:pt x="151" y="171"/>
                  <a:pt x="153" y="173"/>
                  <a:pt x="151" y="173"/>
                </a:cubicBezTo>
                <a:cubicBezTo>
                  <a:pt x="152" y="173"/>
                  <a:pt x="152" y="173"/>
                  <a:pt x="152" y="173"/>
                </a:cubicBezTo>
                <a:cubicBezTo>
                  <a:pt x="152" y="173"/>
                  <a:pt x="152" y="173"/>
                  <a:pt x="152" y="173"/>
                </a:cubicBezTo>
                <a:cubicBezTo>
                  <a:pt x="153" y="173"/>
                  <a:pt x="153" y="173"/>
                  <a:pt x="153" y="174"/>
                </a:cubicBezTo>
                <a:cubicBezTo>
                  <a:pt x="153" y="174"/>
                  <a:pt x="153" y="173"/>
                  <a:pt x="154" y="173"/>
                </a:cubicBezTo>
                <a:cubicBezTo>
                  <a:pt x="156" y="175"/>
                  <a:pt x="155" y="177"/>
                  <a:pt x="156" y="180"/>
                </a:cubicBezTo>
                <a:cubicBezTo>
                  <a:pt x="156" y="180"/>
                  <a:pt x="156" y="180"/>
                  <a:pt x="155" y="180"/>
                </a:cubicBezTo>
                <a:cubicBezTo>
                  <a:pt x="157" y="181"/>
                  <a:pt x="159" y="183"/>
                  <a:pt x="158" y="185"/>
                </a:cubicBezTo>
                <a:cubicBezTo>
                  <a:pt x="159" y="185"/>
                  <a:pt x="159" y="188"/>
                  <a:pt x="160" y="188"/>
                </a:cubicBezTo>
                <a:cubicBezTo>
                  <a:pt x="159" y="189"/>
                  <a:pt x="159" y="189"/>
                  <a:pt x="158" y="189"/>
                </a:cubicBezTo>
                <a:cubicBezTo>
                  <a:pt x="158" y="189"/>
                  <a:pt x="158" y="189"/>
                  <a:pt x="158" y="189"/>
                </a:cubicBezTo>
                <a:cubicBezTo>
                  <a:pt x="153" y="190"/>
                  <a:pt x="151" y="185"/>
                  <a:pt x="148" y="184"/>
                </a:cubicBezTo>
                <a:cubicBezTo>
                  <a:pt x="148" y="184"/>
                  <a:pt x="148" y="183"/>
                  <a:pt x="147" y="182"/>
                </a:cubicBezTo>
                <a:cubicBezTo>
                  <a:pt x="147" y="183"/>
                  <a:pt x="147" y="183"/>
                  <a:pt x="148" y="183"/>
                </a:cubicBezTo>
                <a:cubicBezTo>
                  <a:pt x="148" y="183"/>
                  <a:pt x="147" y="182"/>
                  <a:pt x="147" y="182"/>
                </a:cubicBezTo>
                <a:cubicBezTo>
                  <a:pt x="143" y="182"/>
                  <a:pt x="141" y="178"/>
                  <a:pt x="138" y="177"/>
                </a:cubicBezTo>
                <a:cubicBezTo>
                  <a:pt x="138" y="177"/>
                  <a:pt x="139" y="176"/>
                  <a:pt x="137" y="177"/>
                </a:cubicBezTo>
                <a:cubicBezTo>
                  <a:pt x="138" y="176"/>
                  <a:pt x="137" y="174"/>
                  <a:pt x="136" y="174"/>
                </a:cubicBezTo>
                <a:cubicBezTo>
                  <a:pt x="136" y="173"/>
                  <a:pt x="135" y="174"/>
                  <a:pt x="136" y="173"/>
                </a:cubicBezTo>
                <a:cubicBezTo>
                  <a:pt x="135" y="173"/>
                  <a:pt x="134" y="171"/>
                  <a:pt x="133" y="171"/>
                </a:cubicBezTo>
                <a:cubicBezTo>
                  <a:pt x="132" y="172"/>
                  <a:pt x="131" y="171"/>
                  <a:pt x="130" y="172"/>
                </a:cubicBezTo>
                <a:cubicBezTo>
                  <a:pt x="127" y="170"/>
                  <a:pt x="123" y="167"/>
                  <a:pt x="121" y="165"/>
                </a:cubicBezTo>
                <a:cubicBezTo>
                  <a:pt x="120" y="165"/>
                  <a:pt x="121" y="165"/>
                  <a:pt x="121" y="165"/>
                </a:cubicBezTo>
                <a:cubicBezTo>
                  <a:pt x="119" y="163"/>
                  <a:pt x="115" y="160"/>
                  <a:pt x="112" y="157"/>
                </a:cubicBezTo>
                <a:cubicBezTo>
                  <a:pt x="109" y="158"/>
                  <a:pt x="106" y="156"/>
                  <a:pt x="104" y="154"/>
                </a:cubicBezTo>
                <a:cubicBezTo>
                  <a:pt x="102" y="155"/>
                  <a:pt x="99" y="155"/>
                  <a:pt x="98" y="153"/>
                </a:cubicBezTo>
                <a:cubicBezTo>
                  <a:pt x="96" y="153"/>
                  <a:pt x="96" y="154"/>
                  <a:pt x="95" y="154"/>
                </a:cubicBezTo>
                <a:cubicBezTo>
                  <a:pt x="95" y="154"/>
                  <a:pt x="95" y="154"/>
                  <a:pt x="96" y="154"/>
                </a:cubicBezTo>
                <a:cubicBezTo>
                  <a:pt x="96" y="154"/>
                  <a:pt x="95" y="154"/>
                  <a:pt x="95" y="154"/>
                </a:cubicBezTo>
                <a:cubicBezTo>
                  <a:pt x="91" y="157"/>
                  <a:pt x="88" y="155"/>
                  <a:pt x="84" y="156"/>
                </a:cubicBezTo>
                <a:cubicBezTo>
                  <a:pt x="84" y="155"/>
                  <a:pt x="82" y="153"/>
                  <a:pt x="81" y="152"/>
                </a:cubicBezTo>
                <a:cubicBezTo>
                  <a:pt x="80" y="152"/>
                  <a:pt x="80" y="153"/>
                  <a:pt x="79" y="153"/>
                </a:cubicBezTo>
                <a:cubicBezTo>
                  <a:pt x="79" y="154"/>
                  <a:pt x="77" y="155"/>
                  <a:pt x="76" y="155"/>
                </a:cubicBezTo>
                <a:cubicBezTo>
                  <a:pt x="76" y="156"/>
                  <a:pt x="74" y="155"/>
                  <a:pt x="73" y="156"/>
                </a:cubicBezTo>
                <a:cubicBezTo>
                  <a:pt x="73" y="154"/>
                  <a:pt x="71" y="155"/>
                  <a:pt x="71" y="153"/>
                </a:cubicBezTo>
                <a:cubicBezTo>
                  <a:pt x="70" y="153"/>
                  <a:pt x="71" y="154"/>
                  <a:pt x="70" y="154"/>
                </a:cubicBezTo>
                <a:cubicBezTo>
                  <a:pt x="70" y="154"/>
                  <a:pt x="70" y="153"/>
                  <a:pt x="70" y="154"/>
                </a:cubicBezTo>
                <a:cubicBezTo>
                  <a:pt x="69" y="153"/>
                  <a:pt x="70" y="153"/>
                  <a:pt x="69" y="152"/>
                </a:cubicBezTo>
                <a:cubicBezTo>
                  <a:pt x="64" y="155"/>
                  <a:pt x="60" y="153"/>
                  <a:pt x="54" y="152"/>
                </a:cubicBezTo>
                <a:cubicBezTo>
                  <a:pt x="55" y="153"/>
                  <a:pt x="53" y="151"/>
                  <a:pt x="53" y="153"/>
                </a:cubicBezTo>
                <a:cubicBezTo>
                  <a:pt x="49" y="151"/>
                  <a:pt x="48" y="154"/>
                  <a:pt x="43" y="153"/>
                </a:cubicBezTo>
                <a:cubicBezTo>
                  <a:pt x="41" y="153"/>
                  <a:pt x="38" y="152"/>
                  <a:pt x="36" y="153"/>
                </a:cubicBezTo>
                <a:cubicBezTo>
                  <a:pt x="35" y="151"/>
                  <a:pt x="32" y="153"/>
                  <a:pt x="30" y="153"/>
                </a:cubicBezTo>
                <a:cubicBezTo>
                  <a:pt x="30" y="153"/>
                  <a:pt x="30" y="153"/>
                  <a:pt x="30" y="152"/>
                </a:cubicBezTo>
                <a:cubicBezTo>
                  <a:pt x="25" y="151"/>
                  <a:pt x="18" y="156"/>
                  <a:pt x="13" y="150"/>
                </a:cubicBezTo>
                <a:cubicBezTo>
                  <a:pt x="12" y="150"/>
                  <a:pt x="12" y="151"/>
                  <a:pt x="11" y="151"/>
                </a:cubicBezTo>
                <a:cubicBezTo>
                  <a:pt x="10" y="151"/>
                  <a:pt x="9" y="150"/>
                  <a:pt x="9" y="150"/>
                </a:cubicBezTo>
                <a:cubicBezTo>
                  <a:pt x="8" y="149"/>
                  <a:pt x="6" y="147"/>
                  <a:pt x="6" y="145"/>
                </a:cubicBezTo>
                <a:cubicBezTo>
                  <a:pt x="7" y="143"/>
                  <a:pt x="6" y="141"/>
                  <a:pt x="4" y="141"/>
                </a:cubicBezTo>
                <a:cubicBezTo>
                  <a:pt x="5" y="141"/>
                  <a:pt x="3" y="139"/>
                  <a:pt x="4" y="139"/>
                </a:cubicBezTo>
                <a:cubicBezTo>
                  <a:pt x="3" y="139"/>
                  <a:pt x="3" y="136"/>
                  <a:pt x="2" y="137"/>
                </a:cubicBezTo>
                <a:cubicBezTo>
                  <a:pt x="3" y="133"/>
                  <a:pt x="3" y="131"/>
                  <a:pt x="3" y="126"/>
                </a:cubicBezTo>
                <a:cubicBezTo>
                  <a:pt x="3" y="126"/>
                  <a:pt x="2" y="126"/>
                  <a:pt x="2" y="126"/>
                </a:cubicBezTo>
                <a:cubicBezTo>
                  <a:pt x="2" y="125"/>
                  <a:pt x="1" y="125"/>
                  <a:pt x="2" y="124"/>
                </a:cubicBezTo>
                <a:cubicBezTo>
                  <a:pt x="3" y="122"/>
                  <a:pt x="0" y="119"/>
                  <a:pt x="2" y="116"/>
                </a:cubicBezTo>
                <a:cubicBezTo>
                  <a:pt x="1" y="117"/>
                  <a:pt x="2" y="116"/>
                  <a:pt x="1" y="116"/>
                </a:cubicBezTo>
                <a:cubicBezTo>
                  <a:pt x="1" y="115"/>
                  <a:pt x="2" y="116"/>
                  <a:pt x="2" y="116"/>
                </a:cubicBezTo>
                <a:cubicBezTo>
                  <a:pt x="2" y="116"/>
                  <a:pt x="3" y="114"/>
                  <a:pt x="2" y="114"/>
                </a:cubicBezTo>
                <a:cubicBezTo>
                  <a:pt x="2" y="113"/>
                  <a:pt x="3" y="114"/>
                  <a:pt x="3" y="114"/>
                </a:cubicBezTo>
                <a:cubicBezTo>
                  <a:pt x="3" y="114"/>
                  <a:pt x="3" y="113"/>
                  <a:pt x="3" y="112"/>
                </a:cubicBezTo>
                <a:cubicBezTo>
                  <a:pt x="4" y="113"/>
                  <a:pt x="3" y="112"/>
                  <a:pt x="4" y="112"/>
                </a:cubicBezTo>
                <a:cubicBezTo>
                  <a:pt x="3" y="110"/>
                  <a:pt x="3" y="109"/>
                  <a:pt x="2" y="108"/>
                </a:cubicBezTo>
                <a:cubicBezTo>
                  <a:pt x="2" y="108"/>
                  <a:pt x="2" y="108"/>
                  <a:pt x="1" y="108"/>
                </a:cubicBezTo>
                <a:cubicBezTo>
                  <a:pt x="2" y="107"/>
                  <a:pt x="1" y="107"/>
                  <a:pt x="1" y="106"/>
                </a:cubicBezTo>
                <a:cubicBezTo>
                  <a:pt x="1" y="106"/>
                  <a:pt x="1" y="106"/>
                  <a:pt x="2" y="106"/>
                </a:cubicBezTo>
                <a:cubicBezTo>
                  <a:pt x="1" y="106"/>
                  <a:pt x="1" y="106"/>
                  <a:pt x="1" y="106"/>
                </a:cubicBezTo>
                <a:cubicBezTo>
                  <a:pt x="1" y="105"/>
                  <a:pt x="2" y="105"/>
                  <a:pt x="2" y="105"/>
                </a:cubicBezTo>
                <a:cubicBezTo>
                  <a:pt x="2" y="104"/>
                  <a:pt x="2" y="104"/>
                  <a:pt x="1" y="104"/>
                </a:cubicBezTo>
                <a:cubicBezTo>
                  <a:pt x="1" y="102"/>
                  <a:pt x="3" y="101"/>
                  <a:pt x="1" y="101"/>
                </a:cubicBezTo>
                <a:cubicBezTo>
                  <a:pt x="1" y="100"/>
                  <a:pt x="2" y="100"/>
                  <a:pt x="2" y="99"/>
                </a:cubicBezTo>
                <a:cubicBezTo>
                  <a:pt x="1" y="100"/>
                  <a:pt x="1" y="100"/>
                  <a:pt x="1" y="100"/>
                </a:cubicBezTo>
                <a:cubicBezTo>
                  <a:pt x="1" y="100"/>
                  <a:pt x="1" y="100"/>
                  <a:pt x="1" y="99"/>
                </a:cubicBezTo>
                <a:cubicBezTo>
                  <a:pt x="2" y="99"/>
                  <a:pt x="2" y="99"/>
                  <a:pt x="1" y="98"/>
                </a:cubicBezTo>
                <a:cubicBezTo>
                  <a:pt x="3" y="99"/>
                  <a:pt x="1" y="97"/>
                  <a:pt x="2" y="97"/>
                </a:cubicBezTo>
                <a:cubicBezTo>
                  <a:pt x="2" y="97"/>
                  <a:pt x="2" y="97"/>
                  <a:pt x="2" y="97"/>
                </a:cubicBezTo>
                <a:cubicBezTo>
                  <a:pt x="3" y="96"/>
                  <a:pt x="1" y="96"/>
                  <a:pt x="3" y="96"/>
                </a:cubicBezTo>
                <a:cubicBezTo>
                  <a:pt x="2" y="95"/>
                  <a:pt x="3" y="94"/>
                  <a:pt x="2" y="94"/>
                </a:cubicBezTo>
                <a:cubicBezTo>
                  <a:pt x="3" y="94"/>
                  <a:pt x="2" y="93"/>
                  <a:pt x="3" y="93"/>
                </a:cubicBezTo>
                <a:cubicBezTo>
                  <a:pt x="3" y="93"/>
                  <a:pt x="3" y="91"/>
                  <a:pt x="3" y="92"/>
                </a:cubicBezTo>
                <a:cubicBezTo>
                  <a:pt x="4" y="92"/>
                  <a:pt x="2" y="91"/>
                  <a:pt x="3" y="91"/>
                </a:cubicBezTo>
                <a:cubicBezTo>
                  <a:pt x="0" y="89"/>
                  <a:pt x="1" y="86"/>
                  <a:pt x="2" y="83"/>
                </a:cubicBezTo>
                <a:cubicBezTo>
                  <a:pt x="1" y="84"/>
                  <a:pt x="2" y="82"/>
                  <a:pt x="3" y="82"/>
                </a:cubicBezTo>
                <a:cubicBezTo>
                  <a:pt x="2" y="82"/>
                  <a:pt x="2" y="82"/>
                  <a:pt x="2" y="82"/>
                </a:cubicBezTo>
                <a:cubicBezTo>
                  <a:pt x="3" y="82"/>
                  <a:pt x="5" y="78"/>
                  <a:pt x="2" y="78"/>
                </a:cubicBezTo>
                <a:cubicBezTo>
                  <a:pt x="2" y="76"/>
                  <a:pt x="3" y="78"/>
                  <a:pt x="2" y="76"/>
                </a:cubicBezTo>
                <a:cubicBezTo>
                  <a:pt x="2" y="77"/>
                  <a:pt x="3" y="76"/>
                  <a:pt x="3" y="75"/>
                </a:cubicBezTo>
                <a:cubicBezTo>
                  <a:pt x="3" y="76"/>
                  <a:pt x="3" y="77"/>
                  <a:pt x="4" y="77"/>
                </a:cubicBezTo>
                <a:cubicBezTo>
                  <a:pt x="3" y="76"/>
                  <a:pt x="4" y="76"/>
                  <a:pt x="3" y="75"/>
                </a:cubicBezTo>
                <a:cubicBezTo>
                  <a:pt x="3" y="75"/>
                  <a:pt x="4" y="74"/>
                  <a:pt x="3" y="74"/>
                </a:cubicBezTo>
                <a:cubicBezTo>
                  <a:pt x="4" y="75"/>
                  <a:pt x="4" y="73"/>
                  <a:pt x="4" y="74"/>
                </a:cubicBezTo>
                <a:cubicBezTo>
                  <a:pt x="4" y="72"/>
                  <a:pt x="3" y="72"/>
                  <a:pt x="3" y="71"/>
                </a:cubicBezTo>
                <a:cubicBezTo>
                  <a:pt x="4" y="72"/>
                  <a:pt x="2" y="69"/>
                  <a:pt x="4" y="68"/>
                </a:cubicBezTo>
                <a:cubicBezTo>
                  <a:pt x="4" y="69"/>
                  <a:pt x="4" y="69"/>
                  <a:pt x="4" y="69"/>
                </a:cubicBezTo>
                <a:cubicBezTo>
                  <a:pt x="4" y="69"/>
                  <a:pt x="4" y="69"/>
                  <a:pt x="4" y="69"/>
                </a:cubicBezTo>
                <a:cubicBezTo>
                  <a:pt x="5" y="69"/>
                  <a:pt x="5" y="69"/>
                  <a:pt x="4" y="70"/>
                </a:cubicBezTo>
                <a:cubicBezTo>
                  <a:pt x="5" y="70"/>
                  <a:pt x="5" y="69"/>
                  <a:pt x="5" y="69"/>
                </a:cubicBezTo>
                <a:cubicBezTo>
                  <a:pt x="4" y="69"/>
                  <a:pt x="4" y="68"/>
                  <a:pt x="4" y="67"/>
                </a:cubicBezTo>
                <a:cubicBezTo>
                  <a:pt x="3" y="68"/>
                  <a:pt x="3" y="67"/>
                  <a:pt x="2" y="67"/>
                </a:cubicBezTo>
                <a:cubicBezTo>
                  <a:pt x="2" y="65"/>
                  <a:pt x="2" y="62"/>
                  <a:pt x="2" y="61"/>
                </a:cubicBezTo>
                <a:cubicBezTo>
                  <a:pt x="2" y="60"/>
                  <a:pt x="4" y="61"/>
                  <a:pt x="3" y="62"/>
                </a:cubicBezTo>
                <a:cubicBezTo>
                  <a:pt x="5" y="59"/>
                  <a:pt x="3" y="56"/>
                  <a:pt x="4" y="54"/>
                </a:cubicBezTo>
                <a:cubicBezTo>
                  <a:pt x="5" y="54"/>
                  <a:pt x="6" y="50"/>
                  <a:pt x="4" y="50"/>
                </a:cubicBezTo>
                <a:cubicBezTo>
                  <a:pt x="2" y="43"/>
                  <a:pt x="4" y="39"/>
                  <a:pt x="3" y="33"/>
                </a:cubicBezTo>
                <a:cubicBezTo>
                  <a:pt x="4" y="33"/>
                  <a:pt x="4" y="33"/>
                  <a:pt x="4" y="33"/>
                </a:cubicBezTo>
                <a:cubicBezTo>
                  <a:pt x="4" y="33"/>
                  <a:pt x="3" y="33"/>
                  <a:pt x="4" y="32"/>
                </a:cubicBezTo>
                <a:cubicBezTo>
                  <a:pt x="4" y="32"/>
                  <a:pt x="4" y="32"/>
                  <a:pt x="3" y="32"/>
                </a:cubicBezTo>
                <a:cubicBezTo>
                  <a:pt x="4" y="31"/>
                  <a:pt x="4" y="32"/>
                  <a:pt x="5" y="32"/>
                </a:cubicBezTo>
                <a:cubicBezTo>
                  <a:pt x="4" y="32"/>
                  <a:pt x="4" y="31"/>
                  <a:pt x="4" y="31"/>
                </a:cubicBezTo>
                <a:cubicBezTo>
                  <a:pt x="4" y="31"/>
                  <a:pt x="5" y="31"/>
                  <a:pt x="5" y="31"/>
                </a:cubicBezTo>
                <a:cubicBezTo>
                  <a:pt x="5" y="31"/>
                  <a:pt x="4" y="30"/>
                  <a:pt x="5" y="30"/>
                </a:cubicBezTo>
                <a:cubicBezTo>
                  <a:pt x="4" y="31"/>
                  <a:pt x="5" y="30"/>
                  <a:pt x="5" y="28"/>
                </a:cubicBezTo>
                <a:cubicBezTo>
                  <a:pt x="5" y="28"/>
                  <a:pt x="4" y="27"/>
                  <a:pt x="3" y="27"/>
                </a:cubicBezTo>
                <a:cubicBezTo>
                  <a:pt x="3" y="26"/>
                  <a:pt x="3" y="24"/>
                  <a:pt x="3" y="24"/>
                </a:cubicBezTo>
                <a:cubicBezTo>
                  <a:pt x="3" y="23"/>
                  <a:pt x="3" y="24"/>
                  <a:pt x="4" y="24"/>
                </a:cubicBezTo>
                <a:cubicBezTo>
                  <a:pt x="3" y="22"/>
                  <a:pt x="5" y="20"/>
                  <a:pt x="3" y="20"/>
                </a:cubicBezTo>
                <a:cubicBezTo>
                  <a:pt x="3" y="19"/>
                  <a:pt x="4" y="20"/>
                  <a:pt x="5" y="20"/>
                </a:cubicBezTo>
                <a:cubicBezTo>
                  <a:pt x="4" y="19"/>
                  <a:pt x="4" y="19"/>
                  <a:pt x="4" y="19"/>
                </a:cubicBezTo>
                <a:cubicBezTo>
                  <a:pt x="5" y="18"/>
                  <a:pt x="7" y="18"/>
                  <a:pt x="6" y="16"/>
                </a:cubicBezTo>
                <a:cubicBezTo>
                  <a:pt x="6" y="16"/>
                  <a:pt x="7" y="17"/>
                  <a:pt x="6" y="17"/>
                </a:cubicBezTo>
                <a:cubicBezTo>
                  <a:pt x="6" y="15"/>
                  <a:pt x="6" y="16"/>
                  <a:pt x="6" y="14"/>
                </a:cubicBezTo>
                <a:cubicBezTo>
                  <a:pt x="6" y="15"/>
                  <a:pt x="6" y="15"/>
                  <a:pt x="7" y="15"/>
                </a:cubicBezTo>
                <a:cubicBezTo>
                  <a:pt x="6" y="13"/>
                  <a:pt x="9" y="13"/>
                  <a:pt x="7" y="10"/>
                </a:cubicBezTo>
                <a:cubicBezTo>
                  <a:pt x="8" y="10"/>
                  <a:pt x="8" y="9"/>
                  <a:pt x="9" y="8"/>
                </a:cubicBezTo>
                <a:cubicBezTo>
                  <a:pt x="10" y="9"/>
                  <a:pt x="9" y="9"/>
                  <a:pt x="9" y="8"/>
                </a:cubicBezTo>
                <a:cubicBezTo>
                  <a:pt x="10" y="8"/>
                  <a:pt x="10" y="8"/>
                  <a:pt x="10" y="8"/>
                </a:cubicBezTo>
                <a:cubicBezTo>
                  <a:pt x="11" y="8"/>
                  <a:pt x="10" y="8"/>
                  <a:pt x="10" y="7"/>
                </a:cubicBezTo>
                <a:cubicBezTo>
                  <a:pt x="11" y="7"/>
                  <a:pt x="11" y="7"/>
                  <a:pt x="11" y="7"/>
                </a:cubicBezTo>
                <a:cubicBezTo>
                  <a:pt x="12" y="7"/>
                  <a:pt x="12" y="7"/>
                  <a:pt x="12" y="6"/>
                </a:cubicBezTo>
                <a:cubicBezTo>
                  <a:pt x="13" y="6"/>
                  <a:pt x="14" y="5"/>
                  <a:pt x="15" y="6"/>
                </a:cubicBezTo>
                <a:cubicBezTo>
                  <a:pt x="15" y="5"/>
                  <a:pt x="14" y="5"/>
                  <a:pt x="14" y="5"/>
                </a:cubicBezTo>
                <a:cubicBezTo>
                  <a:pt x="15" y="4"/>
                  <a:pt x="17" y="5"/>
                  <a:pt x="17" y="6"/>
                </a:cubicBezTo>
                <a:cubicBezTo>
                  <a:pt x="18" y="5"/>
                  <a:pt x="18" y="6"/>
                  <a:pt x="18" y="5"/>
                </a:cubicBezTo>
                <a:cubicBezTo>
                  <a:pt x="19" y="5"/>
                  <a:pt x="19" y="6"/>
                  <a:pt x="19" y="4"/>
                </a:cubicBezTo>
                <a:cubicBezTo>
                  <a:pt x="20" y="4"/>
                  <a:pt x="21" y="5"/>
                  <a:pt x="21" y="4"/>
                </a:cubicBezTo>
                <a:cubicBezTo>
                  <a:pt x="22" y="4"/>
                  <a:pt x="21" y="5"/>
                  <a:pt x="22" y="5"/>
                </a:cubicBezTo>
                <a:cubicBezTo>
                  <a:pt x="22" y="5"/>
                  <a:pt x="21" y="5"/>
                  <a:pt x="22" y="4"/>
                </a:cubicBezTo>
                <a:cubicBezTo>
                  <a:pt x="22" y="4"/>
                  <a:pt x="22" y="5"/>
                  <a:pt x="23" y="4"/>
                </a:cubicBezTo>
                <a:cubicBezTo>
                  <a:pt x="27" y="5"/>
                  <a:pt x="32" y="0"/>
                  <a:pt x="35" y="4"/>
                </a:cubicBezTo>
                <a:cubicBezTo>
                  <a:pt x="37" y="3"/>
                  <a:pt x="40" y="2"/>
                  <a:pt x="43" y="3"/>
                </a:cubicBezTo>
                <a:cubicBezTo>
                  <a:pt x="44" y="2"/>
                  <a:pt x="47" y="3"/>
                  <a:pt x="48" y="2"/>
                </a:cubicBezTo>
                <a:cubicBezTo>
                  <a:pt x="48" y="3"/>
                  <a:pt x="51" y="3"/>
                  <a:pt x="51" y="4"/>
                </a:cubicBezTo>
                <a:cubicBezTo>
                  <a:pt x="53" y="4"/>
                  <a:pt x="54" y="2"/>
                  <a:pt x="55" y="4"/>
                </a:cubicBezTo>
                <a:cubicBezTo>
                  <a:pt x="55" y="3"/>
                  <a:pt x="55" y="3"/>
                  <a:pt x="56" y="3"/>
                </a:cubicBezTo>
                <a:cubicBezTo>
                  <a:pt x="56" y="3"/>
                  <a:pt x="55" y="3"/>
                  <a:pt x="55" y="4"/>
                </a:cubicBezTo>
                <a:cubicBezTo>
                  <a:pt x="56" y="3"/>
                  <a:pt x="56" y="3"/>
                  <a:pt x="56" y="3"/>
                </a:cubicBezTo>
                <a:cubicBezTo>
                  <a:pt x="56" y="3"/>
                  <a:pt x="57" y="3"/>
                  <a:pt x="58" y="4"/>
                </a:cubicBezTo>
                <a:cubicBezTo>
                  <a:pt x="60" y="2"/>
                  <a:pt x="61" y="3"/>
                  <a:pt x="63" y="3"/>
                </a:cubicBezTo>
                <a:cubicBezTo>
                  <a:pt x="63" y="1"/>
                  <a:pt x="67" y="4"/>
                  <a:pt x="67" y="2"/>
                </a:cubicBezTo>
                <a:cubicBezTo>
                  <a:pt x="69" y="3"/>
                  <a:pt x="71" y="2"/>
                  <a:pt x="73" y="2"/>
                </a:cubicBezTo>
                <a:cubicBezTo>
                  <a:pt x="73" y="2"/>
                  <a:pt x="73" y="2"/>
                  <a:pt x="73" y="2"/>
                </a:cubicBezTo>
                <a:cubicBezTo>
                  <a:pt x="75" y="3"/>
                  <a:pt x="78" y="1"/>
                  <a:pt x="80" y="2"/>
                </a:cubicBezTo>
                <a:cubicBezTo>
                  <a:pt x="81" y="0"/>
                  <a:pt x="90" y="1"/>
                  <a:pt x="93" y="1"/>
                </a:cubicBezTo>
                <a:cubicBezTo>
                  <a:pt x="94" y="0"/>
                  <a:pt x="99" y="2"/>
                  <a:pt x="100" y="1"/>
                </a:cubicBezTo>
                <a:cubicBezTo>
                  <a:pt x="101" y="2"/>
                  <a:pt x="102" y="2"/>
                  <a:pt x="102" y="3"/>
                </a:cubicBezTo>
                <a:cubicBezTo>
                  <a:pt x="103" y="3"/>
                  <a:pt x="103" y="4"/>
                  <a:pt x="104" y="2"/>
                </a:cubicBezTo>
                <a:cubicBezTo>
                  <a:pt x="104" y="2"/>
                  <a:pt x="104" y="3"/>
                  <a:pt x="104" y="3"/>
                </a:cubicBezTo>
                <a:cubicBezTo>
                  <a:pt x="105" y="1"/>
                  <a:pt x="107" y="1"/>
                  <a:pt x="109" y="1"/>
                </a:cubicBezTo>
                <a:cubicBezTo>
                  <a:pt x="109" y="1"/>
                  <a:pt x="108" y="1"/>
                  <a:pt x="109" y="2"/>
                </a:cubicBezTo>
                <a:cubicBezTo>
                  <a:pt x="110" y="2"/>
                  <a:pt x="109" y="1"/>
                  <a:pt x="109" y="1"/>
                </a:cubicBezTo>
                <a:cubicBezTo>
                  <a:pt x="110" y="1"/>
                  <a:pt x="110" y="2"/>
                  <a:pt x="110" y="1"/>
                </a:cubicBezTo>
                <a:cubicBezTo>
                  <a:pt x="113" y="4"/>
                  <a:pt x="115" y="1"/>
                  <a:pt x="119" y="1"/>
                </a:cubicBezTo>
                <a:cubicBezTo>
                  <a:pt x="119" y="1"/>
                  <a:pt x="122" y="1"/>
                  <a:pt x="124" y="1"/>
                </a:cubicBezTo>
                <a:cubicBezTo>
                  <a:pt x="123" y="0"/>
                  <a:pt x="124" y="1"/>
                  <a:pt x="124" y="1"/>
                </a:cubicBezTo>
                <a:close/>
                <a:moveTo>
                  <a:pt x="209" y="103"/>
                </a:moveTo>
                <a:cubicBezTo>
                  <a:pt x="208" y="104"/>
                  <a:pt x="210" y="102"/>
                  <a:pt x="209" y="103"/>
                </a:cubicBezTo>
                <a:close/>
                <a:moveTo>
                  <a:pt x="202" y="148"/>
                </a:moveTo>
                <a:cubicBezTo>
                  <a:pt x="201" y="149"/>
                  <a:pt x="203" y="147"/>
                  <a:pt x="202" y="148"/>
                </a:cubicBezTo>
                <a:close/>
                <a:moveTo>
                  <a:pt x="200" y="149"/>
                </a:moveTo>
                <a:cubicBezTo>
                  <a:pt x="199" y="150"/>
                  <a:pt x="201" y="148"/>
                  <a:pt x="200" y="149"/>
                </a:cubicBezTo>
                <a:close/>
                <a:moveTo>
                  <a:pt x="1" y="101"/>
                </a:moveTo>
                <a:cubicBezTo>
                  <a:pt x="1" y="101"/>
                  <a:pt x="1" y="101"/>
                  <a:pt x="1" y="101"/>
                </a:cubicBezTo>
                <a:close/>
                <a:moveTo>
                  <a:pt x="3" y="75"/>
                </a:moveTo>
                <a:cubicBezTo>
                  <a:pt x="3" y="75"/>
                  <a:pt x="3" y="75"/>
                  <a:pt x="3" y="75"/>
                </a:cubicBezTo>
                <a:close/>
                <a:moveTo>
                  <a:pt x="9" y="10"/>
                </a:moveTo>
                <a:cubicBezTo>
                  <a:pt x="9" y="9"/>
                  <a:pt x="8" y="10"/>
                  <a:pt x="9" y="10"/>
                </a:cubicBezTo>
                <a:close/>
                <a:moveTo>
                  <a:pt x="89" y="2"/>
                </a:moveTo>
                <a:cubicBezTo>
                  <a:pt x="89" y="2"/>
                  <a:pt x="89" y="2"/>
                  <a:pt x="89" y="2"/>
                </a:cubicBezTo>
                <a:close/>
                <a:moveTo>
                  <a:pt x="106" y="2"/>
                </a:moveTo>
                <a:cubicBezTo>
                  <a:pt x="106" y="3"/>
                  <a:pt x="106" y="2"/>
                  <a:pt x="106" y="2"/>
                </a:cubicBezTo>
                <a:close/>
                <a:moveTo>
                  <a:pt x="155" y="2"/>
                </a:moveTo>
                <a:cubicBezTo>
                  <a:pt x="156" y="3"/>
                  <a:pt x="155" y="2"/>
                  <a:pt x="155" y="2"/>
                </a:cubicBezTo>
                <a:close/>
                <a:moveTo>
                  <a:pt x="182" y="2"/>
                </a:moveTo>
                <a:cubicBezTo>
                  <a:pt x="182" y="3"/>
                  <a:pt x="181" y="2"/>
                  <a:pt x="182" y="2"/>
                </a:cubicBezTo>
                <a:close/>
                <a:moveTo>
                  <a:pt x="182" y="2"/>
                </a:moveTo>
                <a:cubicBezTo>
                  <a:pt x="182" y="3"/>
                  <a:pt x="182" y="2"/>
                  <a:pt x="182" y="2"/>
                </a:cubicBezTo>
                <a:close/>
                <a:moveTo>
                  <a:pt x="45" y="3"/>
                </a:moveTo>
                <a:cubicBezTo>
                  <a:pt x="45" y="3"/>
                  <a:pt x="45" y="3"/>
                  <a:pt x="45" y="3"/>
                </a:cubicBezTo>
                <a:close/>
                <a:moveTo>
                  <a:pt x="105" y="3"/>
                </a:moveTo>
                <a:cubicBezTo>
                  <a:pt x="106" y="3"/>
                  <a:pt x="105" y="3"/>
                  <a:pt x="105" y="3"/>
                </a:cubicBezTo>
                <a:close/>
                <a:moveTo>
                  <a:pt x="67" y="3"/>
                </a:moveTo>
                <a:cubicBezTo>
                  <a:pt x="67" y="3"/>
                  <a:pt x="67" y="3"/>
                  <a:pt x="67" y="3"/>
                </a:cubicBezTo>
                <a:close/>
                <a:moveTo>
                  <a:pt x="69" y="3"/>
                </a:moveTo>
                <a:cubicBezTo>
                  <a:pt x="69" y="3"/>
                  <a:pt x="69" y="3"/>
                  <a:pt x="69" y="3"/>
                </a:cubicBezTo>
                <a:close/>
                <a:moveTo>
                  <a:pt x="174" y="3"/>
                </a:moveTo>
                <a:cubicBezTo>
                  <a:pt x="174" y="3"/>
                  <a:pt x="174" y="3"/>
                  <a:pt x="174" y="3"/>
                </a:cubicBezTo>
                <a:close/>
                <a:moveTo>
                  <a:pt x="43" y="4"/>
                </a:moveTo>
                <a:cubicBezTo>
                  <a:pt x="44" y="4"/>
                  <a:pt x="43" y="3"/>
                  <a:pt x="43" y="4"/>
                </a:cubicBezTo>
                <a:close/>
                <a:moveTo>
                  <a:pt x="44" y="4"/>
                </a:moveTo>
                <a:cubicBezTo>
                  <a:pt x="44" y="4"/>
                  <a:pt x="44" y="3"/>
                  <a:pt x="44" y="4"/>
                </a:cubicBezTo>
                <a:close/>
                <a:moveTo>
                  <a:pt x="60" y="4"/>
                </a:moveTo>
                <a:cubicBezTo>
                  <a:pt x="60" y="4"/>
                  <a:pt x="60" y="3"/>
                  <a:pt x="60" y="4"/>
                </a:cubicBezTo>
                <a:close/>
                <a:moveTo>
                  <a:pt x="104" y="4"/>
                </a:moveTo>
                <a:cubicBezTo>
                  <a:pt x="104" y="4"/>
                  <a:pt x="104" y="3"/>
                  <a:pt x="104" y="4"/>
                </a:cubicBezTo>
                <a:close/>
                <a:moveTo>
                  <a:pt x="103" y="4"/>
                </a:moveTo>
                <a:cubicBezTo>
                  <a:pt x="103" y="4"/>
                  <a:pt x="103" y="4"/>
                  <a:pt x="103" y="4"/>
                </a:cubicBezTo>
                <a:close/>
                <a:moveTo>
                  <a:pt x="27" y="4"/>
                </a:moveTo>
                <a:cubicBezTo>
                  <a:pt x="27" y="4"/>
                  <a:pt x="27" y="4"/>
                  <a:pt x="27" y="4"/>
                </a:cubicBezTo>
                <a:close/>
                <a:moveTo>
                  <a:pt x="59" y="4"/>
                </a:moveTo>
                <a:cubicBezTo>
                  <a:pt x="59" y="4"/>
                  <a:pt x="59" y="4"/>
                  <a:pt x="59" y="4"/>
                </a:cubicBezTo>
                <a:close/>
                <a:moveTo>
                  <a:pt x="104" y="4"/>
                </a:moveTo>
                <a:cubicBezTo>
                  <a:pt x="104" y="4"/>
                  <a:pt x="104" y="4"/>
                  <a:pt x="104" y="4"/>
                </a:cubicBezTo>
                <a:close/>
                <a:moveTo>
                  <a:pt x="169" y="4"/>
                </a:moveTo>
                <a:cubicBezTo>
                  <a:pt x="170" y="4"/>
                  <a:pt x="169" y="4"/>
                  <a:pt x="169" y="4"/>
                </a:cubicBezTo>
                <a:close/>
                <a:moveTo>
                  <a:pt x="26" y="4"/>
                </a:moveTo>
                <a:cubicBezTo>
                  <a:pt x="26" y="5"/>
                  <a:pt x="26" y="4"/>
                  <a:pt x="26" y="4"/>
                </a:cubicBezTo>
                <a:close/>
                <a:moveTo>
                  <a:pt x="50" y="4"/>
                </a:moveTo>
                <a:cubicBezTo>
                  <a:pt x="51" y="5"/>
                  <a:pt x="50" y="4"/>
                  <a:pt x="50" y="4"/>
                </a:cubicBezTo>
                <a:close/>
                <a:moveTo>
                  <a:pt x="190" y="5"/>
                </a:moveTo>
                <a:cubicBezTo>
                  <a:pt x="190" y="5"/>
                  <a:pt x="190" y="5"/>
                  <a:pt x="190" y="5"/>
                </a:cubicBezTo>
                <a:close/>
                <a:moveTo>
                  <a:pt x="20" y="5"/>
                </a:moveTo>
                <a:cubicBezTo>
                  <a:pt x="20" y="5"/>
                  <a:pt x="20" y="5"/>
                  <a:pt x="20" y="5"/>
                </a:cubicBezTo>
                <a:close/>
                <a:moveTo>
                  <a:pt x="19" y="6"/>
                </a:moveTo>
                <a:cubicBezTo>
                  <a:pt x="19" y="6"/>
                  <a:pt x="19" y="6"/>
                  <a:pt x="19" y="6"/>
                </a:cubicBezTo>
                <a:close/>
                <a:moveTo>
                  <a:pt x="13" y="7"/>
                </a:moveTo>
                <a:cubicBezTo>
                  <a:pt x="13" y="7"/>
                  <a:pt x="12" y="6"/>
                  <a:pt x="13" y="7"/>
                </a:cubicBezTo>
                <a:close/>
                <a:moveTo>
                  <a:pt x="11" y="8"/>
                </a:moveTo>
                <a:cubicBezTo>
                  <a:pt x="11" y="8"/>
                  <a:pt x="11" y="8"/>
                  <a:pt x="11" y="8"/>
                </a:cubicBezTo>
                <a:close/>
                <a:moveTo>
                  <a:pt x="198" y="8"/>
                </a:moveTo>
                <a:cubicBezTo>
                  <a:pt x="199" y="8"/>
                  <a:pt x="198" y="8"/>
                  <a:pt x="198" y="8"/>
                </a:cubicBezTo>
                <a:close/>
                <a:moveTo>
                  <a:pt x="10" y="9"/>
                </a:moveTo>
                <a:cubicBezTo>
                  <a:pt x="10" y="9"/>
                  <a:pt x="10" y="9"/>
                  <a:pt x="10" y="9"/>
                </a:cubicBezTo>
                <a:close/>
                <a:moveTo>
                  <a:pt x="9" y="9"/>
                </a:moveTo>
                <a:cubicBezTo>
                  <a:pt x="9" y="10"/>
                  <a:pt x="9" y="9"/>
                  <a:pt x="9" y="9"/>
                </a:cubicBezTo>
                <a:close/>
                <a:moveTo>
                  <a:pt x="202" y="9"/>
                </a:moveTo>
                <a:cubicBezTo>
                  <a:pt x="203" y="10"/>
                  <a:pt x="202" y="9"/>
                  <a:pt x="202" y="9"/>
                </a:cubicBezTo>
                <a:close/>
                <a:moveTo>
                  <a:pt x="7" y="11"/>
                </a:moveTo>
                <a:cubicBezTo>
                  <a:pt x="8" y="11"/>
                  <a:pt x="7" y="10"/>
                  <a:pt x="7" y="11"/>
                </a:cubicBezTo>
                <a:close/>
                <a:moveTo>
                  <a:pt x="8" y="11"/>
                </a:moveTo>
                <a:cubicBezTo>
                  <a:pt x="8" y="11"/>
                  <a:pt x="8" y="10"/>
                  <a:pt x="8" y="11"/>
                </a:cubicBezTo>
                <a:close/>
                <a:moveTo>
                  <a:pt x="8" y="11"/>
                </a:moveTo>
                <a:cubicBezTo>
                  <a:pt x="8" y="11"/>
                  <a:pt x="8" y="11"/>
                  <a:pt x="8" y="11"/>
                </a:cubicBezTo>
                <a:close/>
                <a:moveTo>
                  <a:pt x="6" y="16"/>
                </a:moveTo>
                <a:cubicBezTo>
                  <a:pt x="6" y="16"/>
                  <a:pt x="6" y="16"/>
                  <a:pt x="6" y="16"/>
                </a:cubicBezTo>
                <a:close/>
                <a:moveTo>
                  <a:pt x="6" y="18"/>
                </a:moveTo>
                <a:cubicBezTo>
                  <a:pt x="7" y="18"/>
                  <a:pt x="6" y="18"/>
                  <a:pt x="6" y="18"/>
                </a:cubicBezTo>
                <a:close/>
                <a:moveTo>
                  <a:pt x="6" y="18"/>
                </a:moveTo>
                <a:cubicBezTo>
                  <a:pt x="6" y="19"/>
                  <a:pt x="6" y="17"/>
                  <a:pt x="6" y="18"/>
                </a:cubicBezTo>
                <a:close/>
                <a:moveTo>
                  <a:pt x="5" y="19"/>
                </a:moveTo>
                <a:cubicBezTo>
                  <a:pt x="5" y="19"/>
                  <a:pt x="5" y="19"/>
                  <a:pt x="5" y="19"/>
                </a:cubicBezTo>
                <a:close/>
                <a:moveTo>
                  <a:pt x="5" y="20"/>
                </a:moveTo>
                <a:cubicBezTo>
                  <a:pt x="5" y="20"/>
                  <a:pt x="5" y="20"/>
                  <a:pt x="5" y="20"/>
                </a:cubicBezTo>
                <a:close/>
                <a:moveTo>
                  <a:pt x="4" y="22"/>
                </a:moveTo>
                <a:cubicBezTo>
                  <a:pt x="5" y="22"/>
                  <a:pt x="4" y="22"/>
                  <a:pt x="4" y="22"/>
                </a:cubicBezTo>
                <a:close/>
                <a:moveTo>
                  <a:pt x="206" y="22"/>
                </a:moveTo>
                <a:cubicBezTo>
                  <a:pt x="207" y="22"/>
                  <a:pt x="206" y="22"/>
                  <a:pt x="206" y="22"/>
                </a:cubicBezTo>
                <a:close/>
                <a:moveTo>
                  <a:pt x="4" y="23"/>
                </a:moveTo>
                <a:cubicBezTo>
                  <a:pt x="4" y="23"/>
                  <a:pt x="4" y="23"/>
                  <a:pt x="4" y="23"/>
                </a:cubicBezTo>
                <a:close/>
                <a:moveTo>
                  <a:pt x="5" y="30"/>
                </a:moveTo>
                <a:cubicBezTo>
                  <a:pt x="5" y="30"/>
                  <a:pt x="5" y="30"/>
                  <a:pt x="5" y="30"/>
                </a:cubicBezTo>
                <a:close/>
                <a:moveTo>
                  <a:pt x="4" y="33"/>
                </a:moveTo>
                <a:cubicBezTo>
                  <a:pt x="5" y="33"/>
                  <a:pt x="4" y="33"/>
                  <a:pt x="4" y="33"/>
                </a:cubicBezTo>
                <a:close/>
                <a:moveTo>
                  <a:pt x="4" y="34"/>
                </a:moveTo>
                <a:cubicBezTo>
                  <a:pt x="5" y="34"/>
                  <a:pt x="4" y="33"/>
                  <a:pt x="4" y="34"/>
                </a:cubicBezTo>
                <a:close/>
                <a:moveTo>
                  <a:pt x="206" y="39"/>
                </a:moveTo>
                <a:cubicBezTo>
                  <a:pt x="206" y="39"/>
                  <a:pt x="206" y="39"/>
                  <a:pt x="206" y="39"/>
                </a:cubicBezTo>
                <a:close/>
                <a:moveTo>
                  <a:pt x="206" y="40"/>
                </a:moveTo>
                <a:cubicBezTo>
                  <a:pt x="207" y="40"/>
                  <a:pt x="206" y="40"/>
                  <a:pt x="206" y="40"/>
                </a:cubicBezTo>
                <a:close/>
                <a:moveTo>
                  <a:pt x="206" y="48"/>
                </a:moveTo>
                <a:cubicBezTo>
                  <a:pt x="207" y="48"/>
                  <a:pt x="206" y="47"/>
                  <a:pt x="206" y="48"/>
                </a:cubicBezTo>
                <a:close/>
                <a:moveTo>
                  <a:pt x="205" y="49"/>
                </a:moveTo>
                <a:cubicBezTo>
                  <a:pt x="206" y="49"/>
                  <a:pt x="205" y="49"/>
                  <a:pt x="205" y="49"/>
                </a:cubicBezTo>
                <a:close/>
                <a:moveTo>
                  <a:pt x="4" y="55"/>
                </a:moveTo>
                <a:cubicBezTo>
                  <a:pt x="5" y="55"/>
                  <a:pt x="4" y="55"/>
                  <a:pt x="4" y="55"/>
                </a:cubicBezTo>
                <a:close/>
                <a:moveTo>
                  <a:pt x="4" y="56"/>
                </a:moveTo>
                <a:cubicBezTo>
                  <a:pt x="5" y="56"/>
                  <a:pt x="4" y="56"/>
                  <a:pt x="4" y="56"/>
                </a:cubicBezTo>
                <a:close/>
                <a:moveTo>
                  <a:pt x="208" y="67"/>
                </a:moveTo>
                <a:cubicBezTo>
                  <a:pt x="208" y="67"/>
                  <a:pt x="208" y="67"/>
                  <a:pt x="208" y="67"/>
                </a:cubicBezTo>
                <a:close/>
                <a:moveTo>
                  <a:pt x="4" y="70"/>
                </a:moveTo>
                <a:cubicBezTo>
                  <a:pt x="5" y="73"/>
                  <a:pt x="3" y="69"/>
                  <a:pt x="4" y="70"/>
                </a:cubicBezTo>
                <a:close/>
                <a:moveTo>
                  <a:pt x="4" y="71"/>
                </a:moveTo>
                <a:cubicBezTo>
                  <a:pt x="5" y="71"/>
                  <a:pt x="4" y="70"/>
                  <a:pt x="4" y="71"/>
                </a:cubicBezTo>
                <a:close/>
                <a:moveTo>
                  <a:pt x="4" y="75"/>
                </a:moveTo>
                <a:cubicBezTo>
                  <a:pt x="5" y="75"/>
                  <a:pt x="4" y="74"/>
                  <a:pt x="4" y="75"/>
                </a:cubicBezTo>
                <a:close/>
                <a:moveTo>
                  <a:pt x="4" y="75"/>
                </a:moveTo>
                <a:cubicBezTo>
                  <a:pt x="4" y="75"/>
                  <a:pt x="4" y="75"/>
                  <a:pt x="4" y="75"/>
                </a:cubicBezTo>
                <a:close/>
                <a:moveTo>
                  <a:pt x="4" y="75"/>
                </a:moveTo>
                <a:cubicBezTo>
                  <a:pt x="5" y="75"/>
                  <a:pt x="4" y="75"/>
                  <a:pt x="4" y="75"/>
                </a:cubicBezTo>
                <a:close/>
                <a:moveTo>
                  <a:pt x="4" y="76"/>
                </a:moveTo>
                <a:cubicBezTo>
                  <a:pt x="4" y="76"/>
                  <a:pt x="4" y="76"/>
                  <a:pt x="4" y="76"/>
                </a:cubicBezTo>
                <a:close/>
                <a:moveTo>
                  <a:pt x="3" y="77"/>
                </a:moveTo>
                <a:cubicBezTo>
                  <a:pt x="3" y="77"/>
                  <a:pt x="3" y="77"/>
                  <a:pt x="3" y="77"/>
                </a:cubicBezTo>
                <a:close/>
                <a:moveTo>
                  <a:pt x="209" y="83"/>
                </a:moveTo>
                <a:cubicBezTo>
                  <a:pt x="209" y="83"/>
                  <a:pt x="208" y="83"/>
                  <a:pt x="209" y="83"/>
                </a:cubicBezTo>
                <a:close/>
                <a:moveTo>
                  <a:pt x="207" y="92"/>
                </a:moveTo>
                <a:cubicBezTo>
                  <a:pt x="207" y="93"/>
                  <a:pt x="207" y="92"/>
                  <a:pt x="207" y="92"/>
                </a:cubicBezTo>
                <a:close/>
                <a:moveTo>
                  <a:pt x="4" y="93"/>
                </a:moveTo>
                <a:cubicBezTo>
                  <a:pt x="4" y="93"/>
                  <a:pt x="4" y="93"/>
                  <a:pt x="4" y="93"/>
                </a:cubicBezTo>
                <a:close/>
                <a:moveTo>
                  <a:pt x="3" y="94"/>
                </a:moveTo>
                <a:cubicBezTo>
                  <a:pt x="4" y="94"/>
                  <a:pt x="3" y="94"/>
                  <a:pt x="3" y="94"/>
                </a:cubicBezTo>
                <a:close/>
                <a:moveTo>
                  <a:pt x="3" y="94"/>
                </a:moveTo>
                <a:cubicBezTo>
                  <a:pt x="3" y="94"/>
                  <a:pt x="3" y="94"/>
                  <a:pt x="3" y="94"/>
                </a:cubicBezTo>
                <a:close/>
                <a:moveTo>
                  <a:pt x="3" y="95"/>
                </a:moveTo>
                <a:cubicBezTo>
                  <a:pt x="3" y="95"/>
                  <a:pt x="3" y="95"/>
                  <a:pt x="3" y="95"/>
                </a:cubicBezTo>
                <a:close/>
                <a:moveTo>
                  <a:pt x="3" y="95"/>
                </a:moveTo>
                <a:cubicBezTo>
                  <a:pt x="3" y="95"/>
                  <a:pt x="2" y="95"/>
                  <a:pt x="3" y="95"/>
                </a:cubicBezTo>
                <a:close/>
                <a:moveTo>
                  <a:pt x="209" y="97"/>
                </a:moveTo>
                <a:cubicBezTo>
                  <a:pt x="209" y="98"/>
                  <a:pt x="208" y="97"/>
                  <a:pt x="209" y="97"/>
                </a:cubicBezTo>
                <a:close/>
                <a:moveTo>
                  <a:pt x="2" y="99"/>
                </a:moveTo>
                <a:cubicBezTo>
                  <a:pt x="2" y="100"/>
                  <a:pt x="2" y="98"/>
                  <a:pt x="2" y="99"/>
                </a:cubicBezTo>
                <a:close/>
                <a:moveTo>
                  <a:pt x="2" y="103"/>
                </a:moveTo>
                <a:cubicBezTo>
                  <a:pt x="2" y="103"/>
                  <a:pt x="2" y="103"/>
                  <a:pt x="2" y="103"/>
                </a:cubicBezTo>
                <a:close/>
                <a:moveTo>
                  <a:pt x="207" y="105"/>
                </a:moveTo>
                <a:cubicBezTo>
                  <a:pt x="207" y="105"/>
                  <a:pt x="207" y="104"/>
                  <a:pt x="207" y="105"/>
                </a:cubicBezTo>
                <a:close/>
                <a:moveTo>
                  <a:pt x="2" y="106"/>
                </a:moveTo>
                <a:cubicBezTo>
                  <a:pt x="2" y="106"/>
                  <a:pt x="1" y="106"/>
                  <a:pt x="2" y="106"/>
                </a:cubicBezTo>
                <a:close/>
                <a:moveTo>
                  <a:pt x="4" y="112"/>
                </a:moveTo>
                <a:cubicBezTo>
                  <a:pt x="4" y="113"/>
                  <a:pt x="4" y="112"/>
                  <a:pt x="4" y="112"/>
                </a:cubicBezTo>
                <a:close/>
                <a:moveTo>
                  <a:pt x="5" y="112"/>
                </a:moveTo>
                <a:cubicBezTo>
                  <a:pt x="5" y="113"/>
                  <a:pt x="5" y="112"/>
                  <a:pt x="5" y="112"/>
                </a:cubicBezTo>
                <a:close/>
                <a:moveTo>
                  <a:pt x="3" y="113"/>
                </a:moveTo>
                <a:cubicBezTo>
                  <a:pt x="4" y="113"/>
                  <a:pt x="3" y="113"/>
                  <a:pt x="3" y="113"/>
                </a:cubicBezTo>
                <a:close/>
                <a:moveTo>
                  <a:pt x="4" y="113"/>
                </a:moveTo>
                <a:cubicBezTo>
                  <a:pt x="4" y="113"/>
                  <a:pt x="4" y="113"/>
                  <a:pt x="4" y="113"/>
                </a:cubicBezTo>
                <a:close/>
                <a:moveTo>
                  <a:pt x="3" y="114"/>
                </a:moveTo>
                <a:cubicBezTo>
                  <a:pt x="4" y="114"/>
                  <a:pt x="3" y="114"/>
                  <a:pt x="3" y="114"/>
                </a:cubicBezTo>
                <a:close/>
                <a:moveTo>
                  <a:pt x="207" y="115"/>
                </a:moveTo>
                <a:cubicBezTo>
                  <a:pt x="208" y="116"/>
                  <a:pt x="208" y="114"/>
                  <a:pt x="207" y="115"/>
                </a:cubicBezTo>
                <a:close/>
                <a:moveTo>
                  <a:pt x="3" y="115"/>
                </a:moveTo>
                <a:cubicBezTo>
                  <a:pt x="3" y="115"/>
                  <a:pt x="3" y="115"/>
                  <a:pt x="3" y="115"/>
                </a:cubicBezTo>
                <a:close/>
                <a:moveTo>
                  <a:pt x="3" y="116"/>
                </a:moveTo>
                <a:cubicBezTo>
                  <a:pt x="3" y="116"/>
                  <a:pt x="2" y="116"/>
                  <a:pt x="3" y="116"/>
                </a:cubicBezTo>
                <a:close/>
                <a:moveTo>
                  <a:pt x="3" y="117"/>
                </a:moveTo>
                <a:cubicBezTo>
                  <a:pt x="3" y="117"/>
                  <a:pt x="2" y="117"/>
                  <a:pt x="3" y="117"/>
                </a:cubicBezTo>
                <a:close/>
                <a:moveTo>
                  <a:pt x="2" y="118"/>
                </a:moveTo>
                <a:cubicBezTo>
                  <a:pt x="2" y="118"/>
                  <a:pt x="2" y="118"/>
                  <a:pt x="2" y="118"/>
                </a:cubicBezTo>
                <a:close/>
                <a:moveTo>
                  <a:pt x="208" y="130"/>
                </a:moveTo>
                <a:cubicBezTo>
                  <a:pt x="208" y="130"/>
                  <a:pt x="208" y="130"/>
                  <a:pt x="208" y="130"/>
                </a:cubicBezTo>
                <a:close/>
                <a:moveTo>
                  <a:pt x="208" y="131"/>
                </a:moveTo>
                <a:cubicBezTo>
                  <a:pt x="208" y="131"/>
                  <a:pt x="208" y="131"/>
                  <a:pt x="208" y="131"/>
                </a:cubicBezTo>
                <a:close/>
                <a:moveTo>
                  <a:pt x="4" y="132"/>
                </a:moveTo>
                <a:cubicBezTo>
                  <a:pt x="4" y="132"/>
                  <a:pt x="4" y="132"/>
                  <a:pt x="4" y="132"/>
                </a:cubicBezTo>
                <a:close/>
                <a:moveTo>
                  <a:pt x="4" y="133"/>
                </a:moveTo>
                <a:cubicBezTo>
                  <a:pt x="4" y="133"/>
                  <a:pt x="4" y="132"/>
                  <a:pt x="4" y="133"/>
                </a:cubicBezTo>
                <a:close/>
                <a:moveTo>
                  <a:pt x="209" y="134"/>
                </a:moveTo>
                <a:cubicBezTo>
                  <a:pt x="209" y="134"/>
                  <a:pt x="209" y="134"/>
                  <a:pt x="209" y="134"/>
                </a:cubicBezTo>
                <a:close/>
                <a:moveTo>
                  <a:pt x="3" y="135"/>
                </a:moveTo>
                <a:cubicBezTo>
                  <a:pt x="3" y="135"/>
                  <a:pt x="3" y="135"/>
                  <a:pt x="3" y="135"/>
                </a:cubicBezTo>
                <a:close/>
                <a:moveTo>
                  <a:pt x="203" y="148"/>
                </a:moveTo>
                <a:cubicBezTo>
                  <a:pt x="203" y="148"/>
                  <a:pt x="203" y="148"/>
                  <a:pt x="203" y="148"/>
                </a:cubicBezTo>
                <a:close/>
                <a:moveTo>
                  <a:pt x="149" y="165"/>
                </a:moveTo>
                <a:cubicBezTo>
                  <a:pt x="150" y="166"/>
                  <a:pt x="150" y="164"/>
                  <a:pt x="149" y="165"/>
                </a:cubicBezTo>
                <a:close/>
                <a:moveTo>
                  <a:pt x="136" y="173"/>
                </a:moveTo>
                <a:cubicBezTo>
                  <a:pt x="137" y="174"/>
                  <a:pt x="135" y="172"/>
                  <a:pt x="136" y="173"/>
                </a:cubicBezTo>
                <a:close/>
                <a:moveTo>
                  <a:pt x="137" y="173"/>
                </a:moveTo>
                <a:cubicBezTo>
                  <a:pt x="137" y="174"/>
                  <a:pt x="137" y="173"/>
                  <a:pt x="137" y="173"/>
                </a:cubicBezTo>
                <a:close/>
                <a:moveTo>
                  <a:pt x="137" y="174"/>
                </a:moveTo>
                <a:cubicBezTo>
                  <a:pt x="137" y="174"/>
                  <a:pt x="136" y="174"/>
                  <a:pt x="137" y="174"/>
                </a:cubicBezTo>
                <a:close/>
                <a:moveTo>
                  <a:pt x="159" y="188"/>
                </a:moveTo>
                <a:cubicBezTo>
                  <a:pt x="159" y="189"/>
                  <a:pt x="159" y="188"/>
                  <a:pt x="159" y="18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600" dirty="0">
              <a:solidFill>
                <a:schemeClr val="bg1"/>
              </a:solidFill>
            </a:endParaRP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Burton</a:t>
            </a:r>
          </a:p>
        </p:txBody>
      </p:sp>
      <p:sp>
        <p:nvSpPr>
          <p:cNvPr id="33" name="Freeform 97">
            <a:extLst>
              <a:ext uri="{FF2B5EF4-FFF2-40B4-BE49-F238E27FC236}">
                <a16:creationId xmlns:a16="http://schemas.microsoft.com/office/drawing/2014/main" id="{B7B91773-EF17-55E4-B7C0-B474272C7FF6}"/>
              </a:ext>
            </a:extLst>
          </p:cNvPr>
          <p:cNvSpPr>
            <a:spLocks noChangeAspect="1"/>
          </p:cNvSpPr>
          <p:nvPr/>
        </p:nvSpPr>
        <p:spPr bwMode="auto">
          <a:xfrm flipH="1">
            <a:off x="3948055" y="5608298"/>
            <a:ext cx="1680444" cy="903427"/>
          </a:xfrm>
          <a:custGeom>
            <a:avLst/>
            <a:gdLst>
              <a:gd name="T0" fmla="*/ 132 w 151"/>
              <a:gd name="T1" fmla="*/ 3 h 126"/>
              <a:gd name="T2" fmla="*/ 148 w 151"/>
              <a:gd name="T3" fmla="*/ 18 h 126"/>
              <a:gd name="T4" fmla="*/ 149 w 151"/>
              <a:gd name="T5" fmla="*/ 26 h 126"/>
              <a:gd name="T6" fmla="*/ 148 w 151"/>
              <a:gd name="T7" fmla="*/ 41 h 126"/>
              <a:gd name="T8" fmla="*/ 149 w 151"/>
              <a:gd name="T9" fmla="*/ 53 h 126"/>
              <a:gd name="T10" fmla="*/ 146 w 151"/>
              <a:gd name="T11" fmla="*/ 73 h 126"/>
              <a:gd name="T12" fmla="*/ 147 w 151"/>
              <a:gd name="T13" fmla="*/ 73 h 126"/>
              <a:gd name="T14" fmla="*/ 146 w 151"/>
              <a:gd name="T15" fmla="*/ 78 h 126"/>
              <a:gd name="T16" fmla="*/ 148 w 151"/>
              <a:gd name="T17" fmla="*/ 82 h 126"/>
              <a:gd name="T18" fmla="*/ 144 w 151"/>
              <a:gd name="T19" fmla="*/ 90 h 126"/>
              <a:gd name="T20" fmla="*/ 128 w 151"/>
              <a:gd name="T21" fmla="*/ 97 h 126"/>
              <a:gd name="T22" fmla="*/ 121 w 151"/>
              <a:gd name="T23" fmla="*/ 98 h 126"/>
              <a:gd name="T24" fmla="*/ 100 w 151"/>
              <a:gd name="T25" fmla="*/ 98 h 126"/>
              <a:gd name="T26" fmla="*/ 94 w 151"/>
              <a:gd name="T27" fmla="*/ 96 h 126"/>
              <a:gd name="T28" fmla="*/ 80 w 151"/>
              <a:gd name="T29" fmla="*/ 103 h 126"/>
              <a:gd name="T30" fmla="*/ 71 w 151"/>
              <a:gd name="T31" fmla="*/ 109 h 126"/>
              <a:gd name="T32" fmla="*/ 45 w 151"/>
              <a:gd name="T33" fmla="*/ 125 h 126"/>
              <a:gd name="T34" fmla="*/ 47 w 151"/>
              <a:gd name="T35" fmla="*/ 122 h 126"/>
              <a:gd name="T36" fmla="*/ 52 w 151"/>
              <a:gd name="T37" fmla="*/ 108 h 126"/>
              <a:gd name="T38" fmla="*/ 55 w 151"/>
              <a:gd name="T39" fmla="*/ 99 h 126"/>
              <a:gd name="T40" fmla="*/ 31 w 151"/>
              <a:gd name="T41" fmla="*/ 96 h 126"/>
              <a:gd name="T42" fmla="*/ 6 w 151"/>
              <a:gd name="T43" fmla="*/ 92 h 126"/>
              <a:gd name="T44" fmla="*/ 2 w 151"/>
              <a:gd name="T45" fmla="*/ 85 h 126"/>
              <a:gd name="T46" fmla="*/ 3 w 151"/>
              <a:gd name="T47" fmla="*/ 81 h 126"/>
              <a:gd name="T48" fmla="*/ 0 w 151"/>
              <a:gd name="T49" fmla="*/ 52 h 126"/>
              <a:gd name="T50" fmla="*/ 0 w 151"/>
              <a:gd name="T51" fmla="*/ 18 h 126"/>
              <a:gd name="T52" fmla="*/ 2 w 151"/>
              <a:gd name="T53" fmla="*/ 9 h 126"/>
              <a:gd name="T54" fmla="*/ 6 w 151"/>
              <a:gd name="T55" fmla="*/ 4 h 126"/>
              <a:gd name="T56" fmla="*/ 17 w 151"/>
              <a:gd name="T57" fmla="*/ 3 h 126"/>
              <a:gd name="T58" fmla="*/ 43 w 151"/>
              <a:gd name="T59" fmla="*/ 3 h 126"/>
              <a:gd name="T60" fmla="*/ 61 w 151"/>
              <a:gd name="T61" fmla="*/ 2 h 126"/>
              <a:gd name="T62" fmla="*/ 84 w 151"/>
              <a:gd name="T63" fmla="*/ 3 h 126"/>
              <a:gd name="T64" fmla="*/ 118 w 151"/>
              <a:gd name="T65" fmla="*/ 1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51" h="126">
                <a:moveTo>
                  <a:pt x="118" y="0"/>
                </a:moveTo>
                <a:cubicBezTo>
                  <a:pt x="123" y="2"/>
                  <a:pt x="127" y="1"/>
                  <a:pt x="132" y="3"/>
                </a:cubicBezTo>
                <a:cubicBezTo>
                  <a:pt x="132" y="1"/>
                  <a:pt x="136" y="6"/>
                  <a:pt x="137" y="3"/>
                </a:cubicBezTo>
                <a:cubicBezTo>
                  <a:pt x="144" y="5"/>
                  <a:pt x="146" y="14"/>
                  <a:pt x="148" y="18"/>
                </a:cubicBezTo>
                <a:cubicBezTo>
                  <a:pt x="147" y="21"/>
                  <a:pt x="148" y="23"/>
                  <a:pt x="148" y="25"/>
                </a:cubicBezTo>
                <a:cubicBezTo>
                  <a:pt x="148" y="26"/>
                  <a:pt x="149" y="25"/>
                  <a:pt x="149" y="26"/>
                </a:cubicBezTo>
                <a:cubicBezTo>
                  <a:pt x="151" y="28"/>
                  <a:pt x="149" y="29"/>
                  <a:pt x="148" y="32"/>
                </a:cubicBezTo>
                <a:cubicBezTo>
                  <a:pt x="149" y="35"/>
                  <a:pt x="149" y="38"/>
                  <a:pt x="148" y="41"/>
                </a:cubicBezTo>
                <a:cubicBezTo>
                  <a:pt x="150" y="43"/>
                  <a:pt x="151" y="44"/>
                  <a:pt x="148" y="46"/>
                </a:cubicBezTo>
                <a:cubicBezTo>
                  <a:pt x="148" y="48"/>
                  <a:pt x="148" y="52"/>
                  <a:pt x="149" y="53"/>
                </a:cubicBezTo>
                <a:cubicBezTo>
                  <a:pt x="147" y="59"/>
                  <a:pt x="148" y="65"/>
                  <a:pt x="147" y="73"/>
                </a:cubicBezTo>
                <a:cubicBezTo>
                  <a:pt x="147" y="73"/>
                  <a:pt x="146" y="73"/>
                  <a:pt x="146" y="73"/>
                </a:cubicBezTo>
                <a:cubicBezTo>
                  <a:pt x="146" y="73"/>
                  <a:pt x="147" y="74"/>
                  <a:pt x="147" y="74"/>
                </a:cubicBezTo>
                <a:cubicBezTo>
                  <a:pt x="147" y="74"/>
                  <a:pt x="147" y="74"/>
                  <a:pt x="147" y="73"/>
                </a:cubicBezTo>
                <a:cubicBezTo>
                  <a:pt x="148" y="74"/>
                  <a:pt x="148" y="78"/>
                  <a:pt x="146" y="77"/>
                </a:cubicBezTo>
                <a:cubicBezTo>
                  <a:pt x="146" y="77"/>
                  <a:pt x="146" y="78"/>
                  <a:pt x="146" y="78"/>
                </a:cubicBezTo>
                <a:cubicBezTo>
                  <a:pt x="146" y="79"/>
                  <a:pt x="147" y="78"/>
                  <a:pt x="148" y="79"/>
                </a:cubicBezTo>
                <a:cubicBezTo>
                  <a:pt x="147" y="79"/>
                  <a:pt x="148" y="81"/>
                  <a:pt x="148" y="82"/>
                </a:cubicBezTo>
                <a:cubicBezTo>
                  <a:pt x="144" y="84"/>
                  <a:pt x="146" y="88"/>
                  <a:pt x="143" y="88"/>
                </a:cubicBezTo>
                <a:cubicBezTo>
                  <a:pt x="144" y="89"/>
                  <a:pt x="142" y="90"/>
                  <a:pt x="144" y="90"/>
                </a:cubicBezTo>
                <a:cubicBezTo>
                  <a:pt x="142" y="92"/>
                  <a:pt x="141" y="94"/>
                  <a:pt x="139" y="95"/>
                </a:cubicBezTo>
                <a:cubicBezTo>
                  <a:pt x="135" y="97"/>
                  <a:pt x="132" y="96"/>
                  <a:pt x="128" y="97"/>
                </a:cubicBezTo>
                <a:cubicBezTo>
                  <a:pt x="127" y="97"/>
                  <a:pt x="126" y="96"/>
                  <a:pt x="125" y="96"/>
                </a:cubicBezTo>
                <a:cubicBezTo>
                  <a:pt x="123" y="97"/>
                  <a:pt x="123" y="98"/>
                  <a:pt x="121" y="98"/>
                </a:cubicBezTo>
                <a:cubicBezTo>
                  <a:pt x="119" y="96"/>
                  <a:pt x="116" y="95"/>
                  <a:pt x="113" y="97"/>
                </a:cubicBezTo>
                <a:cubicBezTo>
                  <a:pt x="110" y="94"/>
                  <a:pt x="103" y="95"/>
                  <a:pt x="100" y="98"/>
                </a:cubicBezTo>
                <a:cubicBezTo>
                  <a:pt x="98" y="97"/>
                  <a:pt x="97" y="96"/>
                  <a:pt x="95" y="95"/>
                </a:cubicBezTo>
                <a:cubicBezTo>
                  <a:pt x="95" y="95"/>
                  <a:pt x="95" y="96"/>
                  <a:pt x="94" y="96"/>
                </a:cubicBezTo>
                <a:cubicBezTo>
                  <a:pt x="93" y="97"/>
                  <a:pt x="90" y="96"/>
                  <a:pt x="90" y="98"/>
                </a:cubicBezTo>
                <a:cubicBezTo>
                  <a:pt x="86" y="98"/>
                  <a:pt x="83" y="103"/>
                  <a:pt x="80" y="103"/>
                </a:cubicBezTo>
                <a:cubicBezTo>
                  <a:pt x="78" y="105"/>
                  <a:pt x="74" y="106"/>
                  <a:pt x="73" y="109"/>
                </a:cubicBezTo>
                <a:cubicBezTo>
                  <a:pt x="72" y="108"/>
                  <a:pt x="72" y="109"/>
                  <a:pt x="71" y="109"/>
                </a:cubicBezTo>
                <a:cubicBezTo>
                  <a:pt x="66" y="115"/>
                  <a:pt x="56" y="117"/>
                  <a:pt x="51" y="125"/>
                </a:cubicBezTo>
                <a:cubicBezTo>
                  <a:pt x="50" y="124"/>
                  <a:pt x="47" y="126"/>
                  <a:pt x="45" y="125"/>
                </a:cubicBezTo>
                <a:cubicBezTo>
                  <a:pt x="45" y="124"/>
                  <a:pt x="46" y="123"/>
                  <a:pt x="47" y="121"/>
                </a:cubicBezTo>
                <a:cubicBezTo>
                  <a:pt x="47" y="122"/>
                  <a:pt x="46" y="122"/>
                  <a:pt x="47" y="122"/>
                </a:cubicBezTo>
                <a:cubicBezTo>
                  <a:pt x="48" y="121"/>
                  <a:pt x="47" y="117"/>
                  <a:pt x="49" y="118"/>
                </a:cubicBezTo>
                <a:cubicBezTo>
                  <a:pt x="49" y="115"/>
                  <a:pt x="52" y="112"/>
                  <a:pt x="52" y="108"/>
                </a:cubicBezTo>
                <a:cubicBezTo>
                  <a:pt x="55" y="105"/>
                  <a:pt x="55" y="103"/>
                  <a:pt x="57" y="99"/>
                </a:cubicBezTo>
                <a:cubicBezTo>
                  <a:pt x="56" y="99"/>
                  <a:pt x="56" y="99"/>
                  <a:pt x="55" y="99"/>
                </a:cubicBezTo>
                <a:cubicBezTo>
                  <a:pt x="53" y="96"/>
                  <a:pt x="44" y="95"/>
                  <a:pt x="40" y="98"/>
                </a:cubicBezTo>
                <a:cubicBezTo>
                  <a:pt x="38" y="96"/>
                  <a:pt x="33" y="98"/>
                  <a:pt x="31" y="96"/>
                </a:cubicBezTo>
                <a:cubicBezTo>
                  <a:pt x="27" y="98"/>
                  <a:pt x="20" y="96"/>
                  <a:pt x="17" y="98"/>
                </a:cubicBezTo>
                <a:cubicBezTo>
                  <a:pt x="14" y="95"/>
                  <a:pt x="10" y="96"/>
                  <a:pt x="6" y="92"/>
                </a:cubicBezTo>
                <a:cubicBezTo>
                  <a:pt x="6" y="90"/>
                  <a:pt x="6" y="90"/>
                  <a:pt x="4" y="89"/>
                </a:cubicBezTo>
                <a:cubicBezTo>
                  <a:pt x="6" y="88"/>
                  <a:pt x="4" y="86"/>
                  <a:pt x="2" y="85"/>
                </a:cubicBezTo>
                <a:cubicBezTo>
                  <a:pt x="3" y="84"/>
                  <a:pt x="2" y="82"/>
                  <a:pt x="2" y="81"/>
                </a:cubicBezTo>
                <a:cubicBezTo>
                  <a:pt x="3" y="82"/>
                  <a:pt x="2" y="80"/>
                  <a:pt x="3" y="81"/>
                </a:cubicBezTo>
                <a:cubicBezTo>
                  <a:pt x="1" y="73"/>
                  <a:pt x="2" y="64"/>
                  <a:pt x="1" y="54"/>
                </a:cubicBezTo>
                <a:cubicBezTo>
                  <a:pt x="1" y="53"/>
                  <a:pt x="1" y="53"/>
                  <a:pt x="0" y="52"/>
                </a:cubicBezTo>
                <a:cubicBezTo>
                  <a:pt x="0" y="52"/>
                  <a:pt x="1" y="52"/>
                  <a:pt x="1" y="52"/>
                </a:cubicBezTo>
                <a:cubicBezTo>
                  <a:pt x="2" y="38"/>
                  <a:pt x="0" y="31"/>
                  <a:pt x="0" y="18"/>
                </a:cubicBezTo>
                <a:cubicBezTo>
                  <a:pt x="0" y="18"/>
                  <a:pt x="1" y="17"/>
                  <a:pt x="0" y="17"/>
                </a:cubicBezTo>
                <a:cubicBezTo>
                  <a:pt x="0" y="15"/>
                  <a:pt x="2" y="12"/>
                  <a:pt x="2" y="9"/>
                </a:cubicBezTo>
                <a:cubicBezTo>
                  <a:pt x="3" y="7"/>
                  <a:pt x="4" y="5"/>
                  <a:pt x="6" y="5"/>
                </a:cubicBezTo>
                <a:cubicBezTo>
                  <a:pt x="6" y="5"/>
                  <a:pt x="6" y="4"/>
                  <a:pt x="6" y="4"/>
                </a:cubicBezTo>
                <a:cubicBezTo>
                  <a:pt x="10" y="3"/>
                  <a:pt x="16" y="4"/>
                  <a:pt x="17" y="2"/>
                </a:cubicBezTo>
                <a:cubicBezTo>
                  <a:pt x="18" y="2"/>
                  <a:pt x="17" y="2"/>
                  <a:pt x="17" y="3"/>
                </a:cubicBezTo>
                <a:cubicBezTo>
                  <a:pt x="18" y="2"/>
                  <a:pt x="19" y="1"/>
                  <a:pt x="20" y="3"/>
                </a:cubicBezTo>
                <a:cubicBezTo>
                  <a:pt x="29" y="2"/>
                  <a:pt x="35" y="1"/>
                  <a:pt x="43" y="3"/>
                </a:cubicBezTo>
                <a:cubicBezTo>
                  <a:pt x="44" y="1"/>
                  <a:pt x="47" y="2"/>
                  <a:pt x="47" y="1"/>
                </a:cubicBezTo>
                <a:cubicBezTo>
                  <a:pt x="51" y="2"/>
                  <a:pt x="59" y="2"/>
                  <a:pt x="61" y="2"/>
                </a:cubicBezTo>
                <a:cubicBezTo>
                  <a:pt x="68" y="4"/>
                  <a:pt x="78" y="2"/>
                  <a:pt x="84" y="3"/>
                </a:cubicBezTo>
                <a:cubicBezTo>
                  <a:pt x="84" y="3"/>
                  <a:pt x="84" y="3"/>
                  <a:pt x="84" y="3"/>
                </a:cubicBezTo>
                <a:cubicBezTo>
                  <a:pt x="88" y="2"/>
                  <a:pt x="91" y="4"/>
                  <a:pt x="95" y="2"/>
                </a:cubicBezTo>
                <a:cubicBezTo>
                  <a:pt x="101" y="2"/>
                  <a:pt x="112" y="1"/>
                  <a:pt x="118" y="1"/>
                </a:cubicBezTo>
                <a:cubicBezTo>
                  <a:pt x="118" y="1"/>
                  <a:pt x="118" y="1"/>
                  <a:pt x="118" y="0"/>
                </a:cubicBezTo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600" dirty="0">
              <a:solidFill>
                <a:schemeClr val="bg1"/>
              </a:solidFill>
            </a:endParaRP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gear</a:t>
            </a:r>
          </a:p>
        </p:txBody>
      </p:sp>
      <p:sp>
        <p:nvSpPr>
          <p:cNvPr id="36" name="Freeform 91">
            <a:extLst>
              <a:ext uri="{FF2B5EF4-FFF2-40B4-BE49-F238E27FC236}">
                <a16:creationId xmlns:a16="http://schemas.microsoft.com/office/drawing/2014/main" id="{C637F1D7-5773-2D9D-BC6A-54855D70263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589515" y="3121185"/>
            <a:ext cx="1774809" cy="962321"/>
          </a:xfrm>
          <a:custGeom>
            <a:avLst/>
            <a:gdLst>
              <a:gd name="T0" fmla="*/ 171 w 211"/>
              <a:gd name="T1" fmla="*/ 3 h 190"/>
              <a:gd name="T2" fmla="*/ 194 w 211"/>
              <a:gd name="T3" fmla="*/ 6 h 190"/>
              <a:gd name="T4" fmla="*/ 207 w 211"/>
              <a:gd name="T5" fmla="*/ 22 h 190"/>
              <a:gd name="T6" fmla="*/ 208 w 211"/>
              <a:gd name="T7" fmla="*/ 42 h 190"/>
              <a:gd name="T8" fmla="*/ 209 w 211"/>
              <a:gd name="T9" fmla="*/ 65 h 190"/>
              <a:gd name="T10" fmla="*/ 209 w 211"/>
              <a:gd name="T11" fmla="*/ 83 h 190"/>
              <a:gd name="T12" fmla="*/ 210 w 211"/>
              <a:gd name="T13" fmla="*/ 102 h 190"/>
              <a:gd name="T14" fmla="*/ 208 w 211"/>
              <a:gd name="T15" fmla="*/ 114 h 190"/>
              <a:gd name="T16" fmla="*/ 209 w 211"/>
              <a:gd name="T17" fmla="*/ 134 h 190"/>
              <a:gd name="T18" fmla="*/ 196 w 211"/>
              <a:gd name="T19" fmla="*/ 151 h 190"/>
              <a:gd name="T20" fmla="*/ 167 w 211"/>
              <a:gd name="T21" fmla="*/ 153 h 190"/>
              <a:gd name="T22" fmla="*/ 147 w 211"/>
              <a:gd name="T23" fmla="*/ 161 h 190"/>
              <a:gd name="T24" fmla="*/ 156 w 211"/>
              <a:gd name="T25" fmla="*/ 180 h 190"/>
              <a:gd name="T26" fmla="*/ 148 w 211"/>
              <a:gd name="T27" fmla="*/ 183 h 190"/>
              <a:gd name="T28" fmla="*/ 121 w 211"/>
              <a:gd name="T29" fmla="*/ 165 h 190"/>
              <a:gd name="T30" fmla="*/ 84 w 211"/>
              <a:gd name="T31" fmla="*/ 156 h 190"/>
              <a:gd name="T32" fmla="*/ 69 w 211"/>
              <a:gd name="T33" fmla="*/ 152 h 190"/>
              <a:gd name="T34" fmla="*/ 11 w 211"/>
              <a:gd name="T35" fmla="*/ 151 h 190"/>
              <a:gd name="T36" fmla="*/ 2 w 211"/>
              <a:gd name="T37" fmla="*/ 124 h 190"/>
              <a:gd name="T38" fmla="*/ 2 w 211"/>
              <a:gd name="T39" fmla="*/ 108 h 190"/>
              <a:gd name="T40" fmla="*/ 2 w 211"/>
              <a:gd name="T41" fmla="*/ 99 h 190"/>
              <a:gd name="T42" fmla="*/ 3 w 211"/>
              <a:gd name="T43" fmla="*/ 93 h 190"/>
              <a:gd name="T44" fmla="*/ 3 w 211"/>
              <a:gd name="T45" fmla="*/ 75 h 190"/>
              <a:gd name="T46" fmla="*/ 4 w 211"/>
              <a:gd name="T47" fmla="*/ 69 h 190"/>
              <a:gd name="T48" fmla="*/ 4 w 211"/>
              <a:gd name="T49" fmla="*/ 50 h 190"/>
              <a:gd name="T50" fmla="*/ 5 w 211"/>
              <a:gd name="T51" fmla="*/ 30 h 190"/>
              <a:gd name="T52" fmla="*/ 6 w 211"/>
              <a:gd name="T53" fmla="*/ 16 h 190"/>
              <a:gd name="T54" fmla="*/ 10 w 211"/>
              <a:gd name="T55" fmla="*/ 7 h 190"/>
              <a:gd name="T56" fmla="*/ 21 w 211"/>
              <a:gd name="T57" fmla="*/ 4 h 190"/>
              <a:gd name="T58" fmla="*/ 55 w 211"/>
              <a:gd name="T59" fmla="*/ 4 h 190"/>
              <a:gd name="T60" fmla="*/ 73 w 211"/>
              <a:gd name="T61" fmla="*/ 2 h 190"/>
              <a:gd name="T62" fmla="*/ 109 w 211"/>
              <a:gd name="T63" fmla="*/ 2 h 190"/>
              <a:gd name="T64" fmla="*/ 202 w 211"/>
              <a:gd name="T65" fmla="*/ 148 h 190"/>
              <a:gd name="T66" fmla="*/ 9 w 211"/>
              <a:gd name="T67" fmla="*/ 10 h 190"/>
              <a:gd name="T68" fmla="*/ 182 w 211"/>
              <a:gd name="T69" fmla="*/ 2 h 190"/>
              <a:gd name="T70" fmla="*/ 67 w 211"/>
              <a:gd name="T71" fmla="*/ 3 h 190"/>
              <a:gd name="T72" fmla="*/ 44 w 211"/>
              <a:gd name="T73" fmla="*/ 4 h 190"/>
              <a:gd name="T74" fmla="*/ 27 w 211"/>
              <a:gd name="T75" fmla="*/ 4 h 190"/>
              <a:gd name="T76" fmla="*/ 26 w 211"/>
              <a:gd name="T77" fmla="*/ 4 h 190"/>
              <a:gd name="T78" fmla="*/ 19 w 211"/>
              <a:gd name="T79" fmla="*/ 6 h 190"/>
              <a:gd name="T80" fmla="*/ 10 w 211"/>
              <a:gd name="T81" fmla="*/ 9 h 190"/>
              <a:gd name="T82" fmla="*/ 8 w 211"/>
              <a:gd name="T83" fmla="*/ 11 h 190"/>
              <a:gd name="T84" fmla="*/ 6 w 211"/>
              <a:gd name="T85" fmla="*/ 18 h 190"/>
              <a:gd name="T86" fmla="*/ 206 w 211"/>
              <a:gd name="T87" fmla="*/ 22 h 190"/>
              <a:gd name="T88" fmla="*/ 4 w 211"/>
              <a:gd name="T89" fmla="*/ 34 h 190"/>
              <a:gd name="T90" fmla="*/ 205 w 211"/>
              <a:gd name="T91" fmla="*/ 49 h 190"/>
              <a:gd name="T92" fmla="*/ 4 w 211"/>
              <a:gd name="T93" fmla="*/ 70 h 190"/>
              <a:gd name="T94" fmla="*/ 4 w 211"/>
              <a:gd name="T95" fmla="*/ 75 h 190"/>
              <a:gd name="T96" fmla="*/ 207 w 211"/>
              <a:gd name="T97" fmla="*/ 92 h 190"/>
              <a:gd name="T98" fmla="*/ 3 w 211"/>
              <a:gd name="T99" fmla="*/ 95 h 190"/>
              <a:gd name="T100" fmla="*/ 2 w 211"/>
              <a:gd name="T101" fmla="*/ 103 h 190"/>
              <a:gd name="T102" fmla="*/ 5 w 211"/>
              <a:gd name="T103" fmla="*/ 112 h 190"/>
              <a:gd name="T104" fmla="*/ 207 w 211"/>
              <a:gd name="T105" fmla="*/ 115 h 190"/>
              <a:gd name="T106" fmla="*/ 2 w 211"/>
              <a:gd name="T107" fmla="*/ 118 h 190"/>
              <a:gd name="T108" fmla="*/ 4 w 211"/>
              <a:gd name="T109" fmla="*/ 133 h 190"/>
              <a:gd name="T110" fmla="*/ 149 w 211"/>
              <a:gd name="T111" fmla="*/ 165 h 190"/>
              <a:gd name="T112" fmla="*/ 159 w 211"/>
              <a:gd name="T113" fmla="*/ 188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11" h="190">
                <a:moveTo>
                  <a:pt x="124" y="1"/>
                </a:moveTo>
                <a:cubicBezTo>
                  <a:pt x="125" y="1"/>
                  <a:pt x="124" y="1"/>
                  <a:pt x="124" y="1"/>
                </a:cubicBezTo>
                <a:cubicBezTo>
                  <a:pt x="132" y="0"/>
                  <a:pt x="142" y="2"/>
                  <a:pt x="154" y="1"/>
                </a:cubicBezTo>
                <a:cubicBezTo>
                  <a:pt x="154" y="1"/>
                  <a:pt x="153" y="1"/>
                  <a:pt x="153" y="1"/>
                </a:cubicBezTo>
                <a:cubicBezTo>
                  <a:pt x="154" y="1"/>
                  <a:pt x="154" y="1"/>
                  <a:pt x="154" y="2"/>
                </a:cubicBezTo>
                <a:cubicBezTo>
                  <a:pt x="154" y="1"/>
                  <a:pt x="155" y="1"/>
                  <a:pt x="155" y="2"/>
                </a:cubicBezTo>
                <a:cubicBezTo>
                  <a:pt x="156" y="1"/>
                  <a:pt x="165" y="0"/>
                  <a:pt x="166" y="3"/>
                </a:cubicBezTo>
                <a:cubicBezTo>
                  <a:pt x="167" y="1"/>
                  <a:pt x="170" y="4"/>
                  <a:pt x="171" y="3"/>
                </a:cubicBezTo>
                <a:cubicBezTo>
                  <a:pt x="172" y="3"/>
                  <a:pt x="172" y="4"/>
                  <a:pt x="174" y="3"/>
                </a:cubicBezTo>
                <a:cubicBezTo>
                  <a:pt x="174" y="2"/>
                  <a:pt x="172" y="4"/>
                  <a:pt x="172" y="3"/>
                </a:cubicBezTo>
                <a:cubicBezTo>
                  <a:pt x="171" y="3"/>
                  <a:pt x="175" y="2"/>
                  <a:pt x="175" y="3"/>
                </a:cubicBezTo>
                <a:cubicBezTo>
                  <a:pt x="176" y="2"/>
                  <a:pt x="179" y="3"/>
                  <a:pt x="180" y="2"/>
                </a:cubicBezTo>
                <a:cubicBezTo>
                  <a:pt x="181" y="2"/>
                  <a:pt x="188" y="2"/>
                  <a:pt x="188" y="4"/>
                </a:cubicBezTo>
                <a:cubicBezTo>
                  <a:pt x="189" y="3"/>
                  <a:pt x="189" y="4"/>
                  <a:pt x="189" y="4"/>
                </a:cubicBezTo>
                <a:cubicBezTo>
                  <a:pt x="191" y="4"/>
                  <a:pt x="192" y="5"/>
                  <a:pt x="195" y="4"/>
                </a:cubicBezTo>
                <a:cubicBezTo>
                  <a:pt x="194" y="5"/>
                  <a:pt x="195" y="5"/>
                  <a:pt x="194" y="6"/>
                </a:cubicBezTo>
                <a:cubicBezTo>
                  <a:pt x="196" y="8"/>
                  <a:pt x="202" y="6"/>
                  <a:pt x="202" y="8"/>
                </a:cubicBezTo>
                <a:cubicBezTo>
                  <a:pt x="202" y="8"/>
                  <a:pt x="202" y="8"/>
                  <a:pt x="203" y="8"/>
                </a:cubicBezTo>
                <a:cubicBezTo>
                  <a:pt x="203" y="8"/>
                  <a:pt x="203" y="8"/>
                  <a:pt x="202" y="8"/>
                </a:cubicBezTo>
                <a:cubicBezTo>
                  <a:pt x="204" y="9"/>
                  <a:pt x="205" y="11"/>
                  <a:pt x="207" y="12"/>
                </a:cubicBezTo>
                <a:cubicBezTo>
                  <a:pt x="206" y="13"/>
                  <a:pt x="207" y="13"/>
                  <a:pt x="208" y="14"/>
                </a:cubicBezTo>
                <a:cubicBezTo>
                  <a:pt x="207" y="16"/>
                  <a:pt x="207" y="17"/>
                  <a:pt x="208" y="19"/>
                </a:cubicBezTo>
                <a:cubicBezTo>
                  <a:pt x="208" y="19"/>
                  <a:pt x="208" y="19"/>
                  <a:pt x="207" y="19"/>
                </a:cubicBezTo>
                <a:cubicBezTo>
                  <a:pt x="207" y="20"/>
                  <a:pt x="208" y="21"/>
                  <a:pt x="207" y="22"/>
                </a:cubicBezTo>
                <a:cubicBezTo>
                  <a:pt x="210" y="24"/>
                  <a:pt x="209" y="27"/>
                  <a:pt x="209" y="30"/>
                </a:cubicBezTo>
                <a:cubicBezTo>
                  <a:pt x="207" y="29"/>
                  <a:pt x="208" y="31"/>
                  <a:pt x="207" y="32"/>
                </a:cubicBezTo>
                <a:cubicBezTo>
                  <a:pt x="208" y="32"/>
                  <a:pt x="207" y="32"/>
                  <a:pt x="207" y="33"/>
                </a:cubicBezTo>
                <a:cubicBezTo>
                  <a:pt x="208" y="33"/>
                  <a:pt x="209" y="35"/>
                  <a:pt x="209" y="37"/>
                </a:cubicBezTo>
                <a:cubicBezTo>
                  <a:pt x="209" y="38"/>
                  <a:pt x="208" y="37"/>
                  <a:pt x="208" y="38"/>
                </a:cubicBezTo>
                <a:cubicBezTo>
                  <a:pt x="208" y="37"/>
                  <a:pt x="207" y="40"/>
                  <a:pt x="207" y="38"/>
                </a:cubicBezTo>
                <a:cubicBezTo>
                  <a:pt x="206" y="38"/>
                  <a:pt x="207" y="40"/>
                  <a:pt x="208" y="39"/>
                </a:cubicBezTo>
                <a:cubicBezTo>
                  <a:pt x="207" y="40"/>
                  <a:pt x="207" y="41"/>
                  <a:pt x="208" y="42"/>
                </a:cubicBezTo>
                <a:cubicBezTo>
                  <a:pt x="208" y="42"/>
                  <a:pt x="207" y="42"/>
                  <a:pt x="206" y="42"/>
                </a:cubicBezTo>
                <a:cubicBezTo>
                  <a:pt x="206" y="43"/>
                  <a:pt x="207" y="43"/>
                  <a:pt x="207" y="42"/>
                </a:cubicBezTo>
                <a:cubicBezTo>
                  <a:pt x="207" y="45"/>
                  <a:pt x="208" y="46"/>
                  <a:pt x="207" y="48"/>
                </a:cubicBezTo>
                <a:cubicBezTo>
                  <a:pt x="206" y="48"/>
                  <a:pt x="207" y="50"/>
                  <a:pt x="206" y="49"/>
                </a:cubicBezTo>
                <a:cubicBezTo>
                  <a:pt x="206" y="49"/>
                  <a:pt x="206" y="50"/>
                  <a:pt x="205" y="50"/>
                </a:cubicBezTo>
                <a:cubicBezTo>
                  <a:pt x="208" y="51"/>
                  <a:pt x="206" y="55"/>
                  <a:pt x="209" y="56"/>
                </a:cubicBezTo>
                <a:cubicBezTo>
                  <a:pt x="208" y="56"/>
                  <a:pt x="208" y="56"/>
                  <a:pt x="208" y="56"/>
                </a:cubicBezTo>
                <a:cubicBezTo>
                  <a:pt x="210" y="59"/>
                  <a:pt x="208" y="61"/>
                  <a:pt x="209" y="65"/>
                </a:cubicBezTo>
                <a:cubicBezTo>
                  <a:pt x="209" y="66"/>
                  <a:pt x="209" y="65"/>
                  <a:pt x="208" y="65"/>
                </a:cubicBezTo>
                <a:cubicBezTo>
                  <a:pt x="208" y="65"/>
                  <a:pt x="209" y="65"/>
                  <a:pt x="209" y="66"/>
                </a:cubicBezTo>
                <a:cubicBezTo>
                  <a:pt x="208" y="65"/>
                  <a:pt x="208" y="67"/>
                  <a:pt x="209" y="68"/>
                </a:cubicBezTo>
                <a:cubicBezTo>
                  <a:pt x="208" y="68"/>
                  <a:pt x="208" y="68"/>
                  <a:pt x="208" y="67"/>
                </a:cubicBezTo>
                <a:cubicBezTo>
                  <a:pt x="207" y="68"/>
                  <a:pt x="209" y="69"/>
                  <a:pt x="209" y="70"/>
                </a:cubicBezTo>
                <a:cubicBezTo>
                  <a:pt x="207" y="74"/>
                  <a:pt x="210" y="77"/>
                  <a:pt x="209" y="82"/>
                </a:cubicBezTo>
                <a:cubicBezTo>
                  <a:pt x="211" y="81"/>
                  <a:pt x="208" y="82"/>
                  <a:pt x="210" y="82"/>
                </a:cubicBezTo>
                <a:cubicBezTo>
                  <a:pt x="209" y="83"/>
                  <a:pt x="209" y="83"/>
                  <a:pt x="209" y="83"/>
                </a:cubicBezTo>
                <a:cubicBezTo>
                  <a:pt x="209" y="84"/>
                  <a:pt x="209" y="86"/>
                  <a:pt x="209" y="87"/>
                </a:cubicBezTo>
                <a:cubicBezTo>
                  <a:pt x="209" y="88"/>
                  <a:pt x="209" y="88"/>
                  <a:pt x="209" y="89"/>
                </a:cubicBezTo>
                <a:cubicBezTo>
                  <a:pt x="209" y="89"/>
                  <a:pt x="209" y="89"/>
                  <a:pt x="209" y="89"/>
                </a:cubicBezTo>
                <a:cubicBezTo>
                  <a:pt x="209" y="89"/>
                  <a:pt x="209" y="90"/>
                  <a:pt x="208" y="90"/>
                </a:cubicBezTo>
                <a:cubicBezTo>
                  <a:pt x="208" y="92"/>
                  <a:pt x="208" y="93"/>
                  <a:pt x="207" y="94"/>
                </a:cubicBezTo>
                <a:cubicBezTo>
                  <a:pt x="207" y="94"/>
                  <a:pt x="208" y="94"/>
                  <a:pt x="208" y="94"/>
                </a:cubicBezTo>
                <a:cubicBezTo>
                  <a:pt x="209" y="94"/>
                  <a:pt x="208" y="95"/>
                  <a:pt x="209" y="95"/>
                </a:cubicBezTo>
                <a:cubicBezTo>
                  <a:pt x="209" y="98"/>
                  <a:pt x="210" y="100"/>
                  <a:pt x="210" y="102"/>
                </a:cubicBezTo>
                <a:cubicBezTo>
                  <a:pt x="210" y="103"/>
                  <a:pt x="209" y="103"/>
                  <a:pt x="209" y="104"/>
                </a:cubicBezTo>
                <a:cubicBezTo>
                  <a:pt x="208" y="104"/>
                  <a:pt x="208" y="103"/>
                  <a:pt x="208" y="103"/>
                </a:cubicBezTo>
                <a:cubicBezTo>
                  <a:pt x="208" y="104"/>
                  <a:pt x="209" y="107"/>
                  <a:pt x="209" y="106"/>
                </a:cubicBezTo>
                <a:cubicBezTo>
                  <a:pt x="210" y="106"/>
                  <a:pt x="210" y="107"/>
                  <a:pt x="210" y="107"/>
                </a:cubicBezTo>
                <a:cubicBezTo>
                  <a:pt x="209" y="107"/>
                  <a:pt x="209" y="112"/>
                  <a:pt x="209" y="114"/>
                </a:cubicBezTo>
                <a:cubicBezTo>
                  <a:pt x="208" y="113"/>
                  <a:pt x="209" y="114"/>
                  <a:pt x="208" y="114"/>
                </a:cubicBezTo>
                <a:cubicBezTo>
                  <a:pt x="208" y="114"/>
                  <a:pt x="208" y="114"/>
                  <a:pt x="208" y="114"/>
                </a:cubicBezTo>
                <a:cubicBezTo>
                  <a:pt x="208" y="114"/>
                  <a:pt x="208" y="114"/>
                  <a:pt x="208" y="114"/>
                </a:cubicBezTo>
                <a:cubicBezTo>
                  <a:pt x="208" y="115"/>
                  <a:pt x="208" y="115"/>
                  <a:pt x="208" y="116"/>
                </a:cubicBezTo>
                <a:cubicBezTo>
                  <a:pt x="208" y="115"/>
                  <a:pt x="209" y="115"/>
                  <a:pt x="209" y="115"/>
                </a:cubicBezTo>
                <a:cubicBezTo>
                  <a:pt x="209" y="118"/>
                  <a:pt x="209" y="126"/>
                  <a:pt x="209" y="128"/>
                </a:cubicBezTo>
                <a:cubicBezTo>
                  <a:pt x="208" y="127"/>
                  <a:pt x="208" y="128"/>
                  <a:pt x="208" y="128"/>
                </a:cubicBezTo>
                <a:cubicBezTo>
                  <a:pt x="209" y="128"/>
                  <a:pt x="208" y="128"/>
                  <a:pt x="208" y="129"/>
                </a:cubicBezTo>
                <a:cubicBezTo>
                  <a:pt x="209" y="128"/>
                  <a:pt x="208" y="134"/>
                  <a:pt x="210" y="133"/>
                </a:cubicBezTo>
                <a:cubicBezTo>
                  <a:pt x="210" y="134"/>
                  <a:pt x="210" y="134"/>
                  <a:pt x="210" y="134"/>
                </a:cubicBezTo>
                <a:cubicBezTo>
                  <a:pt x="211" y="134"/>
                  <a:pt x="210" y="135"/>
                  <a:pt x="209" y="134"/>
                </a:cubicBezTo>
                <a:cubicBezTo>
                  <a:pt x="210" y="137"/>
                  <a:pt x="210" y="145"/>
                  <a:pt x="207" y="146"/>
                </a:cubicBezTo>
                <a:cubicBezTo>
                  <a:pt x="206" y="146"/>
                  <a:pt x="207" y="147"/>
                  <a:pt x="207" y="147"/>
                </a:cubicBezTo>
                <a:cubicBezTo>
                  <a:pt x="207" y="148"/>
                  <a:pt x="207" y="146"/>
                  <a:pt x="206" y="146"/>
                </a:cubicBezTo>
                <a:cubicBezTo>
                  <a:pt x="205" y="148"/>
                  <a:pt x="203" y="148"/>
                  <a:pt x="202" y="149"/>
                </a:cubicBezTo>
                <a:cubicBezTo>
                  <a:pt x="201" y="149"/>
                  <a:pt x="201" y="148"/>
                  <a:pt x="201" y="148"/>
                </a:cubicBezTo>
                <a:cubicBezTo>
                  <a:pt x="200" y="149"/>
                  <a:pt x="200" y="149"/>
                  <a:pt x="198" y="149"/>
                </a:cubicBezTo>
                <a:cubicBezTo>
                  <a:pt x="199" y="150"/>
                  <a:pt x="197" y="150"/>
                  <a:pt x="196" y="150"/>
                </a:cubicBezTo>
                <a:cubicBezTo>
                  <a:pt x="196" y="150"/>
                  <a:pt x="196" y="151"/>
                  <a:pt x="196" y="151"/>
                </a:cubicBezTo>
                <a:cubicBezTo>
                  <a:pt x="191" y="151"/>
                  <a:pt x="182" y="154"/>
                  <a:pt x="179" y="150"/>
                </a:cubicBezTo>
                <a:cubicBezTo>
                  <a:pt x="178" y="151"/>
                  <a:pt x="177" y="152"/>
                  <a:pt x="176" y="151"/>
                </a:cubicBezTo>
                <a:cubicBezTo>
                  <a:pt x="176" y="151"/>
                  <a:pt x="176" y="151"/>
                  <a:pt x="176" y="151"/>
                </a:cubicBezTo>
                <a:cubicBezTo>
                  <a:pt x="176" y="152"/>
                  <a:pt x="174" y="150"/>
                  <a:pt x="173" y="152"/>
                </a:cubicBezTo>
                <a:cubicBezTo>
                  <a:pt x="173" y="151"/>
                  <a:pt x="173" y="151"/>
                  <a:pt x="173" y="151"/>
                </a:cubicBezTo>
                <a:cubicBezTo>
                  <a:pt x="173" y="151"/>
                  <a:pt x="172" y="151"/>
                  <a:pt x="172" y="151"/>
                </a:cubicBezTo>
                <a:cubicBezTo>
                  <a:pt x="173" y="152"/>
                  <a:pt x="170" y="153"/>
                  <a:pt x="169" y="152"/>
                </a:cubicBezTo>
                <a:cubicBezTo>
                  <a:pt x="170" y="153"/>
                  <a:pt x="168" y="153"/>
                  <a:pt x="167" y="153"/>
                </a:cubicBezTo>
                <a:cubicBezTo>
                  <a:pt x="167" y="152"/>
                  <a:pt x="166" y="152"/>
                  <a:pt x="166" y="151"/>
                </a:cubicBezTo>
                <a:cubicBezTo>
                  <a:pt x="165" y="152"/>
                  <a:pt x="166" y="153"/>
                  <a:pt x="165" y="152"/>
                </a:cubicBezTo>
                <a:cubicBezTo>
                  <a:pt x="162" y="155"/>
                  <a:pt x="150" y="151"/>
                  <a:pt x="146" y="155"/>
                </a:cubicBezTo>
                <a:cubicBezTo>
                  <a:pt x="147" y="156"/>
                  <a:pt x="147" y="156"/>
                  <a:pt x="146" y="156"/>
                </a:cubicBezTo>
                <a:cubicBezTo>
                  <a:pt x="146" y="157"/>
                  <a:pt x="147" y="157"/>
                  <a:pt x="146" y="158"/>
                </a:cubicBezTo>
                <a:cubicBezTo>
                  <a:pt x="147" y="158"/>
                  <a:pt x="147" y="158"/>
                  <a:pt x="147" y="160"/>
                </a:cubicBezTo>
                <a:cubicBezTo>
                  <a:pt x="147" y="160"/>
                  <a:pt x="147" y="159"/>
                  <a:pt x="146" y="159"/>
                </a:cubicBezTo>
                <a:cubicBezTo>
                  <a:pt x="146" y="160"/>
                  <a:pt x="149" y="162"/>
                  <a:pt x="147" y="161"/>
                </a:cubicBezTo>
                <a:cubicBezTo>
                  <a:pt x="150" y="163"/>
                  <a:pt x="151" y="168"/>
                  <a:pt x="152" y="170"/>
                </a:cubicBezTo>
                <a:cubicBezTo>
                  <a:pt x="152" y="171"/>
                  <a:pt x="152" y="170"/>
                  <a:pt x="151" y="171"/>
                </a:cubicBezTo>
                <a:cubicBezTo>
                  <a:pt x="151" y="171"/>
                  <a:pt x="153" y="173"/>
                  <a:pt x="151" y="173"/>
                </a:cubicBezTo>
                <a:cubicBezTo>
                  <a:pt x="152" y="173"/>
                  <a:pt x="152" y="173"/>
                  <a:pt x="152" y="173"/>
                </a:cubicBezTo>
                <a:cubicBezTo>
                  <a:pt x="152" y="173"/>
                  <a:pt x="152" y="173"/>
                  <a:pt x="152" y="173"/>
                </a:cubicBezTo>
                <a:cubicBezTo>
                  <a:pt x="153" y="173"/>
                  <a:pt x="153" y="173"/>
                  <a:pt x="153" y="174"/>
                </a:cubicBezTo>
                <a:cubicBezTo>
                  <a:pt x="153" y="174"/>
                  <a:pt x="153" y="173"/>
                  <a:pt x="154" y="173"/>
                </a:cubicBezTo>
                <a:cubicBezTo>
                  <a:pt x="156" y="175"/>
                  <a:pt x="155" y="177"/>
                  <a:pt x="156" y="180"/>
                </a:cubicBezTo>
                <a:cubicBezTo>
                  <a:pt x="156" y="180"/>
                  <a:pt x="156" y="180"/>
                  <a:pt x="155" y="180"/>
                </a:cubicBezTo>
                <a:cubicBezTo>
                  <a:pt x="157" y="181"/>
                  <a:pt x="159" y="183"/>
                  <a:pt x="158" y="185"/>
                </a:cubicBezTo>
                <a:cubicBezTo>
                  <a:pt x="159" y="185"/>
                  <a:pt x="159" y="188"/>
                  <a:pt x="160" y="188"/>
                </a:cubicBezTo>
                <a:cubicBezTo>
                  <a:pt x="159" y="189"/>
                  <a:pt x="159" y="189"/>
                  <a:pt x="158" y="189"/>
                </a:cubicBezTo>
                <a:cubicBezTo>
                  <a:pt x="158" y="189"/>
                  <a:pt x="158" y="189"/>
                  <a:pt x="158" y="189"/>
                </a:cubicBezTo>
                <a:cubicBezTo>
                  <a:pt x="153" y="190"/>
                  <a:pt x="151" y="185"/>
                  <a:pt x="148" y="184"/>
                </a:cubicBezTo>
                <a:cubicBezTo>
                  <a:pt x="148" y="184"/>
                  <a:pt x="148" y="183"/>
                  <a:pt x="147" y="182"/>
                </a:cubicBezTo>
                <a:cubicBezTo>
                  <a:pt x="147" y="183"/>
                  <a:pt x="147" y="183"/>
                  <a:pt x="148" y="183"/>
                </a:cubicBezTo>
                <a:cubicBezTo>
                  <a:pt x="148" y="183"/>
                  <a:pt x="147" y="182"/>
                  <a:pt x="147" y="182"/>
                </a:cubicBezTo>
                <a:cubicBezTo>
                  <a:pt x="143" y="182"/>
                  <a:pt x="141" y="178"/>
                  <a:pt x="138" y="177"/>
                </a:cubicBezTo>
                <a:cubicBezTo>
                  <a:pt x="138" y="177"/>
                  <a:pt x="139" y="176"/>
                  <a:pt x="137" y="177"/>
                </a:cubicBezTo>
                <a:cubicBezTo>
                  <a:pt x="138" y="176"/>
                  <a:pt x="137" y="174"/>
                  <a:pt x="136" y="174"/>
                </a:cubicBezTo>
                <a:cubicBezTo>
                  <a:pt x="136" y="173"/>
                  <a:pt x="135" y="174"/>
                  <a:pt x="136" y="173"/>
                </a:cubicBezTo>
                <a:cubicBezTo>
                  <a:pt x="135" y="173"/>
                  <a:pt x="134" y="171"/>
                  <a:pt x="133" y="171"/>
                </a:cubicBezTo>
                <a:cubicBezTo>
                  <a:pt x="132" y="172"/>
                  <a:pt x="131" y="171"/>
                  <a:pt x="130" y="172"/>
                </a:cubicBezTo>
                <a:cubicBezTo>
                  <a:pt x="127" y="170"/>
                  <a:pt x="123" y="167"/>
                  <a:pt x="121" y="165"/>
                </a:cubicBezTo>
                <a:cubicBezTo>
                  <a:pt x="120" y="165"/>
                  <a:pt x="121" y="165"/>
                  <a:pt x="121" y="165"/>
                </a:cubicBezTo>
                <a:cubicBezTo>
                  <a:pt x="119" y="163"/>
                  <a:pt x="115" y="160"/>
                  <a:pt x="112" y="157"/>
                </a:cubicBezTo>
                <a:cubicBezTo>
                  <a:pt x="109" y="158"/>
                  <a:pt x="106" y="156"/>
                  <a:pt x="104" y="154"/>
                </a:cubicBezTo>
                <a:cubicBezTo>
                  <a:pt x="102" y="155"/>
                  <a:pt x="99" y="155"/>
                  <a:pt x="98" y="153"/>
                </a:cubicBezTo>
                <a:cubicBezTo>
                  <a:pt x="96" y="153"/>
                  <a:pt x="96" y="154"/>
                  <a:pt x="95" y="154"/>
                </a:cubicBezTo>
                <a:cubicBezTo>
                  <a:pt x="95" y="154"/>
                  <a:pt x="95" y="154"/>
                  <a:pt x="96" y="154"/>
                </a:cubicBezTo>
                <a:cubicBezTo>
                  <a:pt x="96" y="154"/>
                  <a:pt x="95" y="154"/>
                  <a:pt x="95" y="154"/>
                </a:cubicBezTo>
                <a:cubicBezTo>
                  <a:pt x="91" y="157"/>
                  <a:pt x="88" y="155"/>
                  <a:pt x="84" y="156"/>
                </a:cubicBezTo>
                <a:cubicBezTo>
                  <a:pt x="84" y="155"/>
                  <a:pt x="82" y="153"/>
                  <a:pt x="81" y="152"/>
                </a:cubicBezTo>
                <a:cubicBezTo>
                  <a:pt x="80" y="152"/>
                  <a:pt x="80" y="153"/>
                  <a:pt x="79" y="153"/>
                </a:cubicBezTo>
                <a:cubicBezTo>
                  <a:pt x="79" y="154"/>
                  <a:pt x="77" y="155"/>
                  <a:pt x="76" y="155"/>
                </a:cubicBezTo>
                <a:cubicBezTo>
                  <a:pt x="76" y="156"/>
                  <a:pt x="74" y="155"/>
                  <a:pt x="73" y="156"/>
                </a:cubicBezTo>
                <a:cubicBezTo>
                  <a:pt x="73" y="154"/>
                  <a:pt x="71" y="155"/>
                  <a:pt x="71" y="153"/>
                </a:cubicBezTo>
                <a:cubicBezTo>
                  <a:pt x="70" y="153"/>
                  <a:pt x="71" y="154"/>
                  <a:pt x="70" y="154"/>
                </a:cubicBezTo>
                <a:cubicBezTo>
                  <a:pt x="70" y="154"/>
                  <a:pt x="70" y="153"/>
                  <a:pt x="70" y="154"/>
                </a:cubicBezTo>
                <a:cubicBezTo>
                  <a:pt x="69" y="153"/>
                  <a:pt x="70" y="153"/>
                  <a:pt x="69" y="152"/>
                </a:cubicBezTo>
                <a:cubicBezTo>
                  <a:pt x="64" y="155"/>
                  <a:pt x="60" y="153"/>
                  <a:pt x="54" y="152"/>
                </a:cubicBezTo>
                <a:cubicBezTo>
                  <a:pt x="55" y="153"/>
                  <a:pt x="53" y="151"/>
                  <a:pt x="53" y="153"/>
                </a:cubicBezTo>
                <a:cubicBezTo>
                  <a:pt x="49" y="151"/>
                  <a:pt x="48" y="154"/>
                  <a:pt x="43" y="153"/>
                </a:cubicBezTo>
                <a:cubicBezTo>
                  <a:pt x="41" y="153"/>
                  <a:pt x="38" y="152"/>
                  <a:pt x="36" y="153"/>
                </a:cubicBezTo>
                <a:cubicBezTo>
                  <a:pt x="35" y="151"/>
                  <a:pt x="32" y="153"/>
                  <a:pt x="30" y="153"/>
                </a:cubicBezTo>
                <a:cubicBezTo>
                  <a:pt x="30" y="153"/>
                  <a:pt x="30" y="153"/>
                  <a:pt x="30" y="152"/>
                </a:cubicBezTo>
                <a:cubicBezTo>
                  <a:pt x="25" y="151"/>
                  <a:pt x="18" y="156"/>
                  <a:pt x="13" y="150"/>
                </a:cubicBezTo>
                <a:cubicBezTo>
                  <a:pt x="12" y="150"/>
                  <a:pt x="12" y="151"/>
                  <a:pt x="11" y="151"/>
                </a:cubicBezTo>
                <a:cubicBezTo>
                  <a:pt x="10" y="151"/>
                  <a:pt x="9" y="150"/>
                  <a:pt x="9" y="150"/>
                </a:cubicBezTo>
                <a:cubicBezTo>
                  <a:pt x="8" y="149"/>
                  <a:pt x="6" y="147"/>
                  <a:pt x="6" y="145"/>
                </a:cubicBezTo>
                <a:cubicBezTo>
                  <a:pt x="7" y="143"/>
                  <a:pt x="6" y="141"/>
                  <a:pt x="4" y="141"/>
                </a:cubicBezTo>
                <a:cubicBezTo>
                  <a:pt x="5" y="141"/>
                  <a:pt x="3" y="139"/>
                  <a:pt x="4" y="139"/>
                </a:cubicBezTo>
                <a:cubicBezTo>
                  <a:pt x="3" y="139"/>
                  <a:pt x="3" y="136"/>
                  <a:pt x="2" y="137"/>
                </a:cubicBezTo>
                <a:cubicBezTo>
                  <a:pt x="3" y="133"/>
                  <a:pt x="3" y="131"/>
                  <a:pt x="3" y="126"/>
                </a:cubicBezTo>
                <a:cubicBezTo>
                  <a:pt x="3" y="126"/>
                  <a:pt x="2" y="126"/>
                  <a:pt x="2" y="126"/>
                </a:cubicBezTo>
                <a:cubicBezTo>
                  <a:pt x="2" y="125"/>
                  <a:pt x="1" y="125"/>
                  <a:pt x="2" y="124"/>
                </a:cubicBezTo>
                <a:cubicBezTo>
                  <a:pt x="3" y="122"/>
                  <a:pt x="0" y="119"/>
                  <a:pt x="2" y="116"/>
                </a:cubicBezTo>
                <a:cubicBezTo>
                  <a:pt x="1" y="117"/>
                  <a:pt x="2" y="116"/>
                  <a:pt x="1" y="116"/>
                </a:cubicBezTo>
                <a:cubicBezTo>
                  <a:pt x="1" y="115"/>
                  <a:pt x="2" y="116"/>
                  <a:pt x="2" y="116"/>
                </a:cubicBezTo>
                <a:cubicBezTo>
                  <a:pt x="2" y="116"/>
                  <a:pt x="3" y="114"/>
                  <a:pt x="2" y="114"/>
                </a:cubicBezTo>
                <a:cubicBezTo>
                  <a:pt x="2" y="113"/>
                  <a:pt x="3" y="114"/>
                  <a:pt x="3" y="114"/>
                </a:cubicBezTo>
                <a:cubicBezTo>
                  <a:pt x="3" y="114"/>
                  <a:pt x="3" y="113"/>
                  <a:pt x="3" y="112"/>
                </a:cubicBezTo>
                <a:cubicBezTo>
                  <a:pt x="4" y="113"/>
                  <a:pt x="3" y="112"/>
                  <a:pt x="4" y="112"/>
                </a:cubicBezTo>
                <a:cubicBezTo>
                  <a:pt x="3" y="110"/>
                  <a:pt x="3" y="109"/>
                  <a:pt x="2" y="108"/>
                </a:cubicBezTo>
                <a:cubicBezTo>
                  <a:pt x="2" y="108"/>
                  <a:pt x="2" y="108"/>
                  <a:pt x="1" y="108"/>
                </a:cubicBezTo>
                <a:cubicBezTo>
                  <a:pt x="2" y="107"/>
                  <a:pt x="1" y="107"/>
                  <a:pt x="1" y="106"/>
                </a:cubicBezTo>
                <a:cubicBezTo>
                  <a:pt x="1" y="106"/>
                  <a:pt x="1" y="106"/>
                  <a:pt x="2" y="106"/>
                </a:cubicBezTo>
                <a:cubicBezTo>
                  <a:pt x="1" y="106"/>
                  <a:pt x="1" y="106"/>
                  <a:pt x="1" y="106"/>
                </a:cubicBezTo>
                <a:cubicBezTo>
                  <a:pt x="1" y="105"/>
                  <a:pt x="2" y="105"/>
                  <a:pt x="2" y="105"/>
                </a:cubicBezTo>
                <a:cubicBezTo>
                  <a:pt x="2" y="104"/>
                  <a:pt x="2" y="104"/>
                  <a:pt x="1" y="104"/>
                </a:cubicBezTo>
                <a:cubicBezTo>
                  <a:pt x="1" y="102"/>
                  <a:pt x="3" y="101"/>
                  <a:pt x="1" y="101"/>
                </a:cubicBezTo>
                <a:cubicBezTo>
                  <a:pt x="1" y="100"/>
                  <a:pt x="2" y="100"/>
                  <a:pt x="2" y="99"/>
                </a:cubicBezTo>
                <a:cubicBezTo>
                  <a:pt x="1" y="100"/>
                  <a:pt x="1" y="100"/>
                  <a:pt x="1" y="100"/>
                </a:cubicBezTo>
                <a:cubicBezTo>
                  <a:pt x="1" y="100"/>
                  <a:pt x="1" y="100"/>
                  <a:pt x="1" y="99"/>
                </a:cubicBezTo>
                <a:cubicBezTo>
                  <a:pt x="2" y="99"/>
                  <a:pt x="2" y="99"/>
                  <a:pt x="1" y="98"/>
                </a:cubicBezTo>
                <a:cubicBezTo>
                  <a:pt x="3" y="99"/>
                  <a:pt x="1" y="97"/>
                  <a:pt x="2" y="97"/>
                </a:cubicBezTo>
                <a:cubicBezTo>
                  <a:pt x="2" y="97"/>
                  <a:pt x="2" y="97"/>
                  <a:pt x="2" y="97"/>
                </a:cubicBezTo>
                <a:cubicBezTo>
                  <a:pt x="3" y="96"/>
                  <a:pt x="1" y="96"/>
                  <a:pt x="3" y="96"/>
                </a:cubicBezTo>
                <a:cubicBezTo>
                  <a:pt x="2" y="95"/>
                  <a:pt x="3" y="94"/>
                  <a:pt x="2" y="94"/>
                </a:cubicBezTo>
                <a:cubicBezTo>
                  <a:pt x="3" y="94"/>
                  <a:pt x="2" y="93"/>
                  <a:pt x="3" y="93"/>
                </a:cubicBezTo>
                <a:cubicBezTo>
                  <a:pt x="3" y="93"/>
                  <a:pt x="3" y="91"/>
                  <a:pt x="3" y="92"/>
                </a:cubicBezTo>
                <a:cubicBezTo>
                  <a:pt x="4" y="92"/>
                  <a:pt x="2" y="91"/>
                  <a:pt x="3" y="91"/>
                </a:cubicBezTo>
                <a:cubicBezTo>
                  <a:pt x="0" y="89"/>
                  <a:pt x="1" y="86"/>
                  <a:pt x="2" y="83"/>
                </a:cubicBezTo>
                <a:cubicBezTo>
                  <a:pt x="1" y="84"/>
                  <a:pt x="2" y="82"/>
                  <a:pt x="3" y="82"/>
                </a:cubicBezTo>
                <a:cubicBezTo>
                  <a:pt x="2" y="82"/>
                  <a:pt x="2" y="82"/>
                  <a:pt x="2" y="82"/>
                </a:cubicBezTo>
                <a:cubicBezTo>
                  <a:pt x="3" y="82"/>
                  <a:pt x="5" y="78"/>
                  <a:pt x="2" y="78"/>
                </a:cubicBezTo>
                <a:cubicBezTo>
                  <a:pt x="2" y="76"/>
                  <a:pt x="3" y="78"/>
                  <a:pt x="2" y="76"/>
                </a:cubicBezTo>
                <a:cubicBezTo>
                  <a:pt x="2" y="77"/>
                  <a:pt x="3" y="76"/>
                  <a:pt x="3" y="75"/>
                </a:cubicBezTo>
                <a:cubicBezTo>
                  <a:pt x="3" y="76"/>
                  <a:pt x="3" y="77"/>
                  <a:pt x="4" y="77"/>
                </a:cubicBezTo>
                <a:cubicBezTo>
                  <a:pt x="3" y="76"/>
                  <a:pt x="4" y="76"/>
                  <a:pt x="3" y="75"/>
                </a:cubicBezTo>
                <a:cubicBezTo>
                  <a:pt x="3" y="75"/>
                  <a:pt x="4" y="74"/>
                  <a:pt x="3" y="74"/>
                </a:cubicBezTo>
                <a:cubicBezTo>
                  <a:pt x="4" y="75"/>
                  <a:pt x="4" y="73"/>
                  <a:pt x="4" y="74"/>
                </a:cubicBezTo>
                <a:cubicBezTo>
                  <a:pt x="4" y="72"/>
                  <a:pt x="3" y="72"/>
                  <a:pt x="3" y="71"/>
                </a:cubicBezTo>
                <a:cubicBezTo>
                  <a:pt x="4" y="72"/>
                  <a:pt x="2" y="69"/>
                  <a:pt x="4" y="68"/>
                </a:cubicBezTo>
                <a:cubicBezTo>
                  <a:pt x="4" y="69"/>
                  <a:pt x="4" y="69"/>
                  <a:pt x="4" y="69"/>
                </a:cubicBezTo>
                <a:cubicBezTo>
                  <a:pt x="4" y="69"/>
                  <a:pt x="4" y="69"/>
                  <a:pt x="4" y="69"/>
                </a:cubicBezTo>
                <a:cubicBezTo>
                  <a:pt x="5" y="69"/>
                  <a:pt x="5" y="69"/>
                  <a:pt x="4" y="70"/>
                </a:cubicBezTo>
                <a:cubicBezTo>
                  <a:pt x="5" y="70"/>
                  <a:pt x="5" y="69"/>
                  <a:pt x="5" y="69"/>
                </a:cubicBezTo>
                <a:cubicBezTo>
                  <a:pt x="4" y="69"/>
                  <a:pt x="4" y="68"/>
                  <a:pt x="4" y="67"/>
                </a:cubicBezTo>
                <a:cubicBezTo>
                  <a:pt x="3" y="68"/>
                  <a:pt x="3" y="67"/>
                  <a:pt x="2" y="67"/>
                </a:cubicBezTo>
                <a:cubicBezTo>
                  <a:pt x="2" y="65"/>
                  <a:pt x="2" y="62"/>
                  <a:pt x="2" y="61"/>
                </a:cubicBezTo>
                <a:cubicBezTo>
                  <a:pt x="2" y="60"/>
                  <a:pt x="4" y="61"/>
                  <a:pt x="3" y="62"/>
                </a:cubicBezTo>
                <a:cubicBezTo>
                  <a:pt x="5" y="59"/>
                  <a:pt x="3" y="56"/>
                  <a:pt x="4" y="54"/>
                </a:cubicBezTo>
                <a:cubicBezTo>
                  <a:pt x="5" y="54"/>
                  <a:pt x="6" y="50"/>
                  <a:pt x="4" y="50"/>
                </a:cubicBezTo>
                <a:cubicBezTo>
                  <a:pt x="2" y="43"/>
                  <a:pt x="4" y="39"/>
                  <a:pt x="3" y="33"/>
                </a:cubicBezTo>
                <a:cubicBezTo>
                  <a:pt x="4" y="33"/>
                  <a:pt x="4" y="33"/>
                  <a:pt x="4" y="33"/>
                </a:cubicBezTo>
                <a:cubicBezTo>
                  <a:pt x="4" y="33"/>
                  <a:pt x="3" y="33"/>
                  <a:pt x="4" y="32"/>
                </a:cubicBezTo>
                <a:cubicBezTo>
                  <a:pt x="4" y="32"/>
                  <a:pt x="4" y="32"/>
                  <a:pt x="3" y="32"/>
                </a:cubicBezTo>
                <a:cubicBezTo>
                  <a:pt x="4" y="31"/>
                  <a:pt x="4" y="32"/>
                  <a:pt x="5" y="32"/>
                </a:cubicBezTo>
                <a:cubicBezTo>
                  <a:pt x="4" y="32"/>
                  <a:pt x="4" y="31"/>
                  <a:pt x="4" y="31"/>
                </a:cubicBezTo>
                <a:cubicBezTo>
                  <a:pt x="4" y="31"/>
                  <a:pt x="5" y="31"/>
                  <a:pt x="5" y="31"/>
                </a:cubicBezTo>
                <a:cubicBezTo>
                  <a:pt x="5" y="31"/>
                  <a:pt x="4" y="30"/>
                  <a:pt x="5" y="30"/>
                </a:cubicBezTo>
                <a:cubicBezTo>
                  <a:pt x="4" y="31"/>
                  <a:pt x="5" y="30"/>
                  <a:pt x="5" y="28"/>
                </a:cubicBezTo>
                <a:cubicBezTo>
                  <a:pt x="5" y="28"/>
                  <a:pt x="4" y="27"/>
                  <a:pt x="3" y="27"/>
                </a:cubicBezTo>
                <a:cubicBezTo>
                  <a:pt x="3" y="26"/>
                  <a:pt x="3" y="24"/>
                  <a:pt x="3" y="24"/>
                </a:cubicBezTo>
                <a:cubicBezTo>
                  <a:pt x="3" y="23"/>
                  <a:pt x="3" y="24"/>
                  <a:pt x="4" y="24"/>
                </a:cubicBezTo>
                <a:cubicBezTo>
                  <a:pt x="3" y="22"/>
                  <a:pt x="5" y="20"/>
                  <a:pt x="3" y="20"/>
                </a:cubicBezTo>
                <a:cubicBezTo>
                  <a:pt x="3" y="19"/>
                  <a:pt x="4" y="20"/>
                  <a:pt x="5" y="20"/>
                </a:cubicBezTo>
                <a:cubicBezTo>
                  <a:pt x="4" y="19"/>
                  <a:pt x="4" y="19"/>
                  <a:pt x="4" y="19"/>
                </a:cubicBezTo>
                <a:cubicBezTo>
                  <a:pt x="5" y="18"/>
                  <a:pt x="7" y="18"/>
                  <a:pt x="6" y="16"/>
                </a:cubicBezTo>
                <a:cubicBezTo>
                  <a:pt x="6" y="16"/>
                  <a:pt x="7" y="17"/>
                  <a:pt x="6" y="17"/>
                </a:cubicBezTo>
                <a:cubicBezTo>
                  <a:pt x="6" y="15"/>
                  <a:pt x="6" y="16"/>
                  <a:pt x="6" y="14"/>
                </a:cubicBezTo>
                <a:cubicBezTo>
                  <a:pt x="6" y="15"/>
                  <a:pt x="6" y="15"/>
                  <a:pt x="7" y="15"/>
                </a:cubicBezTo>
                <a:cubicBezTo>
                  <a:pt x="6" y="13"/>
                  <a:pt x="9" y="13"/>
                  <a:pt x="7" y="10"/>
                </a:cubicBezTo>
                <a:cubicBezTo>
                  <a:pt x="8" y="10"/>
                  <a:pt x="8" y="9"/>
                  <a:pt x="9" y="8"/>
                </a:cubicBezTo>
                <a:cubicBezTo>
                  <a:pt x="10" y="9"/>
                  <a:pt x="9" y="9"/>
                  <a:pt x="9" y="8"/>
                </a:cubicBezTo>
                <a:cubicBezTo>
                  <a:pt x="10" y="8"/>
                  <a:pt x="10" y="8"/>
                  <a:pt x="10" y="8"/>
                </a:cubicBezTo>
                <a:cubicBezTo>
                  <a:pt x="11" y="8"/>
                  <a:pt x="10" y="8"/>
                  <a:pt x="10" y="7"/>
                </a:cubicBezTo>
                <a:cubicBezTo>
                  <a:pt x="11" y="7"/>
                  <a:pt x="11" y="7"/>
                  <a:pt x="11" y="7"/>
                </a:cubicBezTo>
                <a:cubicBezTo>
                  <a:pt x="12" y="7"/>
                  <a:pt x="12" y="7"/>
                  <a:pt x="12" y="6"/>
                </a:cubicBezTo>
                <a:cubicBezTo>
                  <a:pt x="13" y="6"/>
                  <a:pt x="14" y="5"/>
                  <a:pt x="15" y="6"/>
                </a:cubicBezTo>
                <a:cubicBezTo>
                  <a:pt x="15" y="5"/>
                  <a:pt x="14" y="5"/>
                  <a:pt x="14" y="5"/>
                </a:cubicBezTo>
                <a:cubicBezTo>
                  <a:pt x="15" y="4"/>
                  <a:pt x="17" y="5"/>
                  <a:pt x="17" y="6"/>
                </a:cubicBezTo>
                <a:cubicBezTo>
                  <a:pt x="18" y="5"/>
                  <a:pt x="18" y="6"/>
                  <a:pt x="18" y="5"/>
                </a:cubicBezTo>
                <a:cubicBezTo>
                  <a:pt x="19" y="5"/>
                  <a:pt x="19" y="6"/>
                  <a:pt x="19" y="4"/>
                </a:cubicBezTo>
                <a:cubicBezTo>
                  <a:pt x="20" y="4"/>
                  <a:pt x="21" y="5"/>
                  <a:pt x="21" y="4"/>
                </a:cubicBezTo>
                <a:cubicBezTo>
                  <a:pt x="22" y="4"/>
                  <a:pt x="21" y="5"/>
                  <a:pt x="22" y="5"/>
                </a:cubicBezTo>
                <a:cubicBezTo>
                  <a:pt x="22" y="5"/>
                  <a:pt x="21" y="5"/>
                  <a:pt x="22" y="4"/>
                </a:cubicBezTo>
                <a:cubicBezTo>
                  <a:pt x="22" y="4"/>
                  <a:pt x="22" y="5"/>
                  <a:pt x="23" y="4"/>
                </a:cubicBezTo>
                <a:cubicBezTo>
                  <a:pt x="27" y="5"/>
                  <a:pt x="32" y="0"/>
                  <a:pt x="35" y="4"/>
                </a:cubicBezTo>
                <a:cubicBezTo>
                  <a:pt x="37" y="3"/>
                  <a:pt x="40" y="2"/>
                  <a:pt x="43" y="3"/>
                </a:cubicBezTo>
                <a:cubicBezTo>
                  <a:pt x="44" y="2"/>
                  <a:pt x="47" y="3"/>
                  <a:pt x="48" y="2"/>
                </a:cubicBezTo>
                <a:cubicBezTo>
                  <a:pt x="48" y="3"/>
                  <a:pt x="51" y="3"/>
                  <a:pt x="51" y="4"/>
                </a:cubicBezTo>
                <a:cubicBezTo>
                  <a:pt x="53" y="4"/>
                  <a:pt x="54" y="2"/>
                  <a:pt x="55" y="4"/>
                </a:cubicBezTo>
                <a:cubicBezTo>
                  <a:pt x="55" y="3"/>
                  <a:pt x="55" y="3"/>
                  <a:pt x="56" y="3"/>
                </a:cubicBezTo>
                <a:cubicBezTo>
                  <a:pt x="56" y="3"/>
                  <a:pt x="55" y="3"/>
                  <a:pt x="55" y="4"/>
                </a:cubicBezTo>
                <a:cubicBezTo>
                  <a:pt x="56" y="3"/>
                  <a:pt x="56" y="3"/>
                  <a:pt x="56" y="3"/>
                </a:cubicBezTo>
                <a:cubicBezTo>
                  <a:pt x="56" y="3"/>
                  <a:pt x="57" y="3"/>
                  <a:pt x="58" y="4"/>
                </a:cubicBezTo>
                <a:cubicBezTo>
                  <a:pt x="60" y="2"/>
                  <a:pt x="61" y="3"/>
                  <a:pt x="63" y="3"/>
                </a:cubicBezTo>
                <a:cubicBezTo>
                  <a:pt x="63" y="1"/>
                  <a:pt x="67" y="4"/>
                  <a:pt x="67" y="2"/>
                </a:cubicBezTo>
                <a:cubicBezTo>
                  <a:pt x="69" y="3"/>
                  <a:pt x="71" y="2"/>
                  <a:pt x="73" y="2"/>
                </a:cubicBezTo>
                <a:cubicBezTo>
                  <a:pt x="73" y="2"/>
                  <a:pt x="73" y="2"/>
                  <a:pt x="73" y="2"/>
                </a:cubicBezTo>
                <a:cubicBezTo>
                  <a:pt x="75" y="3"/>
                  <a:pt x="78" y="1"/>
                  <a:pt x="80" y="2"/>
                </a:cubicBezTo>
                <a:cubicBezTo>
                  <a:pt x="81" y="0"/>
                  <a:pt x="90" y="1"/>
                  <a:pt x="93" y="1"/>
                </a:cubicBezTo>
                <a:cubicBezTo>
                  <a:pt x="94" y="0"/>
                  <a:pt x="99" y="2"/>
                  <a:pt x="100" y="1"/>
                </a:cubicBezTo>
                <a:cubicBezTo>
                  <a:pt x="101" y="2"/>
                  <a:pt x="102" y="2"/>
                  <a:pt x="102" y="3"/>
                </a:cubicBezTo>
                <a:cubicBezTo>
                  <a:pt x="103" y="3"/>
                  <a:pt x="103" y="4"/>
                  <a:pt x="104" y="2"/>
                </a:cubicBezTo>
                <a:cubicBezTo>
                  <a:pt x="104" y="2"/>
                  <a:pt x="104" y="3"/>
                  <a:pt x="104" y="3"/>
                </a:cubicBezTo>
                <a:cubicBezTo>
                  <a:pt x="105" y="1"/>
                  <a:pt x="107" y="1"/>
                  <a:pt x="109" y="1"/>
                </a:cubicBezTo>
                <a:cubicBezTo>
                  <a:pt x="109" y="1"/>
                  <a:pt x="108" y="1"/>
                  <a:pt x="109" y="2"/>
                </a:cubicBezTo>
                <a:cubicBezTo>
                  <a:pt x="110" y="2"/>
                  <a:pt x="109" y="1"/>
                  <a:pt x="109" y="1"/>
                </a:cubicBezTo>
                <a:cubicBezTo>
                  <a:pt x="110" y="1"/>
                  <a:pt x="110" y="2"/>
                  <a:pt x="110" y="1"/>
                </a:cubicBezTo>
                <a:cubicBezTo>
                  <a:pt x="113" y="4"/>
                  <a:pt x="115" y="1"/>
                  <a:pt x="119" y="1"/>
                </a:cubicBezTo>
                <a:cubicBezTo>
                  <a:pt x="119" y="1"/>
                  <a:pt x="122" y="1"/>
                  <a:pt x="124" y="1"/>
                </a:cubicBezTo>
                <a:cubicBezTo>
                  <a:pt x="123" y="0"/>
                  <a:pt x="124" y="1"/>
                  <a:pt x="124" y="1"/>
                </a:cubicBezTo>
                <a:close/>
                <a:moveTo>
                  <a:pt x="209" y="103"/>
                </a:moveTo>
                <a:cubicBezTo>
                  <a:pt x="208" y="104"/>
                  <a:pt x="210" y="102"/>
                  <a:pt x="209" y="103"/>
                </a:cubicBezTo>
                <a:close/>
                <a:moveTo>
                  <a:pt x="202" y="148"/>
                </a:moveTo>
                <a:cubicBezTo>
                  <a:pt x="201" y="149"/>
                  <a:pt x="203" y="147"/>
                  <a:pt x="202" y="148"/>
                </a:cubicBezTo>
                <a:close/>
                <a:moveTo>
                  <a:pt x="200" y="149"/>
                </a:moveTo>
                <a:cubicBezTo>
                  <a:pt x="199" y="150"/>
                  <a:pt x="201" y="148"/>
                  <a:pt x="200" y="149"/>
                </a:cubicBezTo>
                <a:close/>
                <a:moveTo>
                  <a:pt x="1" y="101"/>
                </a:moveTo>
                <a:cubicBezTo>
                  <a:pt x="1" y="101"/>
                  <a:pt x="1" y="101"/>
                  <a:pt x="1" y="101"/>
                </a:cubicBezTo>
                <a:close/>
                <a:moveTo>
                  <a:pt x="3" y="75"/>
                </a:moveTo>
                <a:cubicBezTo>
                  <a:pt x="3" y="75"/>
                  <a:pt x="3" y="75"/>
                  <a:pt x="3" y="75"/>
                </a:cubicBezTo>
                <a:close/>
                <a:moveTo>
                  <a:pt x="9" y="10"/>
                </a:moveTo>
                <a:cubicBezTo>
                  <a:pt x="9" y="9"/>
                  <a:pt x="8" y="10"/>
                  <a:pt x="9" y="10"/>
                </a:cubicBezTo>
                <a:close/>
                <a:moveTo>
                  <a:pt x="89" y="2"/>
                </a:moveTo>
                <a:cubicBezTo>
                  <a:pt x="89" y="2"/>
                  <a:pt x="89" y="2"/>
                  <a:pt x="89" y="2"/>
                </a:cubicBezTo>
                <a:close/>
                <a:moveTo>
                  <a:pt x="106" y="2"/>
                </a:moveTo>
                <a:cubicBezTo>
                  <a:pt x="106" y="3"/>
                  <a:pt x="106" y="2"/>
                  <a:pt x="106" y="2"/>
                </a:cubicBezTo>
                <a:close/>
                <a:moveTo>
                  <a:pt x="155" y="2"/>
                </a:moveTo>
                <a:cubicBezTo>
                  <a:pt x="156" y="3"/>
                  <a:pt x="155" y="2"/>
                  <a:pt x="155" y="2"/>
                </a:cubicBezTo>
                <a:close/>
                <a:moveTo>
                  <a:pt x="182" y="2"/>
                </a:moveTo>
                <a:cubicBezTo>
                  <a:pt x="182" y="3"/>
                  <a:pt x="181" y="2"/>
                  <a:pt x="182" y="2"/>
                </a:cubicBezTo>
                <a:close/>
                <a:moveTo>
                  <a:pt x="182" y="2"/>
                </a:moveTo>
                <a:cubicBezTo>
                  <a:pt x="182" y="3"/>
                  <a:pt x="182" y="2"/>
                  <a:pt x="182" y="2"/>
                </a:cubicBezTo>
                <a:close/>
                <a:moveTo>
                  <a:pt x="45" y="3"/>
                </a:moveTo>
                <a:cubicBezTo>
                  <a:pt x="45" y="3"/>
                  <a:pt x="45" y="3"/>
                  <a:pt x="45" y="3"/>
                </a:cubicBezTo>
                <a:close/>
                <a:moveTo>
                  <a:pt x="105" y="3"/>
                </a:moveTo>
                <a:cubicBezTo>
                  <a:pt x="106" y="3"/>
                  <a:pt x="105" y="3"/>
                  <a:pt x="105" y="3"/>
                </a:cubicBezTo>
                <a:close/>
                <a:moveTo>
                  <a:pt x="67" y="3"/>
                </a:moveTo>
                <a:cubicBezTo>
                  <a:pt x="67" y="3"/>
                  <a:pt x="67" y="3"/>
                  <a:pt x="67" y="3"/>
                </a:cubicBezTo>
                <a:close/>
                <a:moveTo>
                  <a:pt x="69" y="3"/>
                </a:moveTo>
                <a:cubicBezTo>
                  <a:pt x="69" y="3"/>
                  <a:pt x="69" y="3"/>
                  <a:pt x="69" y="3"/>
                </a:cubicBezTo>
                <a:close/>
                <a:moveTo>
                  <a:pt x="174" y="3"/>
                </a:moveTo>
                <a:cubicBezTo>
                  <a:pt x="174" y="3"/>
                  <a:pt x="174" y="3"/>
                  <a:pt x="174" y="3"/>
                </a:cubicBezTo>
                <a:close/>
                <a:moveTo>
                  <a:pt x="43" y="4"/>
                </a:moveTo>
                <a:cubicBezTo>
                  <a:pt x="44" y="4"/>
                  <a:pt x="43" y="3"/>
                  <a:pt x="43" y="4"/>
                </a:cubicBezTo>
                <a:close/>
                <a:moveTo>
                  <a:pt x="44" y="4"/>
                </a:moveTo>
                <a:cubicBezTo>
                  <a:pt x="44" y="4"/>
                  <a:pt x="44" y="3"/>
                  <a:pt x="44" y="4"/>
                </a:cubicBezTo>
                <a:close/>
                <a:moveTo>
                  <a:pt x="60" y="4"/>
                </a:moveTo>
                <a:cubicBezTo>
                  <a:pt x="60" y="4"/>
                  <a:pt x="60" y="3"/>
                  <a:pt x="60" y="4"/>
                </a:cubicBezTo>
                <a:close/>
                <a:moveTo>
                  <a:pt x="104" y="4"/>
                </a:moveTo>
                <a:cubicBezTo>
                  <a:pt x="104" y="4"/>
                  <a:pt x="104" y="3"/>
                  <a:pt x="104" y="4"/>
                </a:cubicBezTo>
                <a:close/>
                <a:moveTo>
                  <a:pt x="103" y="4"/>
                </a:moveTo>
                <a:cubicBezTo>
                  <a:pt x="103" y="4"/>
                  <a:pt x="103" y="4"/>
                  <a:pt x="103" y="4"/>
                </a:cubicBezTo>
                <a:close/>
                <a:moveTo>
                  <a:pt x="27" y="4"/>
                </a:moveTo>
                <a:cubicBezTo>
                  <a:pt x="27" y="4"/>
                  <a:pt x="27" y="4"/>
                  <a:pt x="27" y="4"/>
                </a:cubicBezTo>
                <a:close/>
                <a:moveTo>
                  <a:pt x="59" y="4"/>
                </a:moveTo>
                <a:cubicBezTo>
                  <a:pt x="59" y="4"/>
                  <a:pt x="59" y="4"/>
                  <a:pt x="59" y="4"/>
                </a:cubicBezTo>
                <a:close/>
                <a:moveTo>
                  <a:pt x="104" y="4"/>
                </a:moveTo>
                <a:cubicBezTo>
                  <a:pt x="104" y="4"/>
                  <a:pt x="104" y="4"/>
                  <a:pt x="104" y="4"/>
                </a:cubicBezTo>
                <a:close/>
                <a:moveTo>
                  <a:pt x="169" y="4"/>
                </a:moveTo>
                <a:cubicBezTo>
                  <a:pt x="170" y="4"/>
                  <a:pt x="169" y="4"/>
                  <a:pt x="169" y="4"/>
                </a:cubicBezTo>
                <a:close/>
                <a:moveTo>
                  <a:pt x="26" y="4"/>
                </a:moveTo>
                <a:cubicBezTo>
                  <a:pt x="26" y="5"/>
                  <a:pt x="26" y="4"/>
                  <a:pt x="26" y="4"/>
                </a:cubicBezTo>
                <a:close/>
                <a:moveTo>
                  <a:pt x="50" y="4"/>
                </a:moveTo>
                <a:cubicBezTo>
                  <a:pt x="51" y="5"/>
                  <a:pt x="50" y="4"/>
                  <a:pt x="50" y="4"/>
                </a:cubicBezTo>
                <a:close/>
                <a:moveTo>
                  <a:pt x="190" y="5"/>
                </a:moveTo>
                <a:cubicBezTo>
                  <a:pt x="190" y="5"/>
                  <a:pt x="190" y="5"/>
                  <a:pt x="190" y="5"/>
                </a:cubicBezTo>
                <a:close/>
                <a:moveTo>
                  <a:pt x="20" y="5"/>
                </a:moveTo>
                <a:cubicBezTo>
                  <a:pt x="20" y="5"/>
                  <a:pt x="20" y="5"/>
                  <a:pt x="20" y="5"/>
                </a:cubicBezTo>
                <a:close/>
                <a:moveTo>
                  <a:pt x="19" y="6"/>
                </a:moveTo>
                <a:cubicBezTo>
                  <a:pt x="19" y="6"/>
                  <a:pt x="19" y="6"/>
                  <a:pt x="19" y="6"/>
                </a:cubicBezTo>
                <a:close/>
                <a:moveTo>
                  <a:pt x="13" y="7"/>
                </a:moveTo>
                <a:cubicBezTo>
                  <a:pt x="13" y="7"/>
                  <a:pt x="12" y="6"/>
                  <a:pt x="13" y="7"/>
                </a:cubicBezTo>
                <a:close/>
                <a:moveTo>
                  <a:pt x="11" y="8"/>
                </a:moveTo>
                <a:cubicBezTo>
                  <a:pt x="11" y="8"/>
                  <a:pt x="11" y="8"/>
                  <a:pt x="11" y="8"/>
                </a:cubicBezTo>
                <a:close/>
                <a:moveTo>
                  <a:pt x="198" y="8"/>
                </a:moveTo>
                <a:cubicBezTo>
                  <a:pt x="199" y="8"/>
                  <a:pt x="198" y="8"/>
                  <a:pt x="198" y="8"/>
                </a:cubicBezTo>
                <a:close/>
                <a:moveTo>
                  <a:pt x="10" y="9"/>
                </a:moveTo>
                <a:cubicBezTo>
                  <a:pt x="10" y="9"/>
                  <a:pt x="10" y="9"/>
                  <a:pt x="10" y="9"/>
                </a:cubicBezTo>
                <a:close/>
                <a:moveTo>
                  <a:pt x="9" y="9"/>
                </a:moveTo>
                <a:cubicBezTo>
                  <a:pt x="9" y="10"/>
                  <a:pt x="9" y="9"/>
                  <a:pt x="9" y="9"/>
                </a:cubicBezTo>
                <a:close/>
                <a:moveTo>
                  <a:pt x="202" y="9"/>
                </a:moveTo>
                <a:cubicBezTo>
                  <a:pt x="203" y="10"/>
                  <a:pt x="202" y="9"/>
                  <a:pt x="202" y="9"/>
                </a:cubicBezTo>
                <a:close/>
                <a:moveTo>
                  <a:pt x="7" y="11"/>
                </a:moveTo>
                <a:cubicBezTo>
                  <a:pt x="8" y="11"/>
                  <a:pt x="7" y="10"/>
                  <a:pt x="7" y="11"/>
                </a:cubicBezTo>
                <a:close/>
                <a:moveTo>
                  <a:pt x="8" y="11"/>
                </a:moveTo>
                <a:cubicBezTo>
                  <a:pt x="8" y="11"/>
                  <a:pt x="8" y="10"/>
                  <a:pt x="8" y="11"/>
                </a:cubicBezTo>
                <a:close/>
                <a:moveTo>
                  <a:pt x="8" y="11"/>
                </a:moveTo>
                <a:cubicBezTo>
                  <a:pt x="8" y="11"/>
                  <a:pt x="8" y="11"/>
                  <a:pt x="8" y="11"/>
                </a:cubicBezTo>
                <a:close/>
                <a:moveTo>
                  <a:pt x="6" y="16"/>
                </a:moveTo>
                <a:cubicBezTo>
                  <a:pt x="6" y="16"/>
                  <a:pt x="6" y="16"/>
                  <a:pt x="6" y="16"/>
                </a:cubicBezTo>
                <a:close/>
                <a:moveTo>
                  <a:pt x="6" y="18"/>
                </a:moveTo>
                <a:cubicBezTo>
                  <a:pt x="7" y="18"/>
                  <a:pt x="6" y="18"/>
                  <a:pt x="6" y="18"/>
                </a:cubicBezTo>
                <a:close/>
                <a:moveTo>
                  <a:pt x="6" y="18"/>
                </a:moveTo>
                <a:cubicBezTo>
                  <a:pt x="6" y="19"/>
                  <a:pt x="6" y="17"/>
                  <a:pt x="6" y="18"/>
                </a:cubicBezTo>
                <a:close/>
                <a:moveTo>
                  <a:pt x="5" y="19"/>
                </a:moveTo>
                <a:cubicBezTo>
                  <a:pt x="5" y="19"/>
                  <a:pt x="5" y="19"/>
                  <a:pt x="5" y="19"/>
                </a:cubicBezTo>
                <a:close/>
                <a:moveTo>
                  <a:pt x="5" y="20"/>
                </a:moveTo>
                <a:cubicBezTo>
                  <a:pt x="5" y="20"/>
                  <a:pt x="5" y="20"/>
                  <a:pt x="5" y="20"/>
                </a:cubicBezTo>
                <a:close/>
                <a:moveTo>
                  <a:pt x="4" y="22"/>
                </a:moveTo>
                <a:cubicBezTo>
                  <a:pt x="5" y="22"/>
                  <a:pt x="4" y="22"/>
                  <a:pt x="4" y="22"/>
                </a:cubicBezTo>
                <a:close/>
                <a:moveTo>
                  <a:pt x="206" y="22"/>
                </a:moveTo>
                <a:cubicBezTo>
                  <a:pt x="207" y="22"/>
                  <a:pt x="206" y="22"/>
                  <a:pt x="206" y="22"/>
                </a:cubicBezTo>
                <a:close/>
                <a:moveTo>
                  <a:pt x="4" y="23"/>
                </a:moveTo>
                <a:cubicBezTo>
                  <a:pt x="4" y="23"/>
                  <a:pt x="4" y="23"/>
                  <a:pt x="4" y="23"/>
                </a:cubicBezTo>
                <a:close/>
                <a:moveTo>
                  <a:pt x="5" y="30"/>
                </a:moveTo>
                <a:cubicBezTo>
                  <a:pt x="5" y="30"/>
                  <a:pt x="5" y="30"/>
                  <a:pt x="5" y="30"/>
                </a:cubicBezTo>
                <a:close/>
                <a:moveTo>
                  <a:pt x="4" y="33"/>
                </a:moveTo>
                <a:cubicBezTo>
                  <a:pt x="5" y="33"/>
                  <a:pt x="4" y="33"/>
                  <a:pt x="4" y="33"/>
                </a:cubicBezTo>
                <a:close/>
                <a:moveTo>
                  <a:pt x="4" y="34"/>
                </a:moveTo>
                <a:cubicBezTo>
                  <a:pt x="5" y="34"/>
                  <a:pt x="4" y="33"/>
                  <a:pt x="4" y="34"/>
                </a:cubicBezTo>
                <a:close/>
                <a:moveTo>
                  <a:pt x="206" y="39"/>
                </a:moveTo>
                <a:cubicBezTo>
                  <a:pt x="206" y="39"/>
                  <a:pt x="206" y="39"/>
                  <a:pt x="206" y="39"/>
                </a:cubicBezTo>
                <a:close/>
                <a:moveTo>
                  <a:pt x="206" y="40"/>
                </a:moveTo>
                <a:cubicBezTo>
                  <a:pt x="207" y="40"/>
                  <a:pt x="206" y="40"/>
                  <a:pt x="206" y="40"/>
                </a:cubicBezTo>
                <a:close/>
                <a:moveTo>
                  <a:pt x="206" y="48"/>
                </a:moveTo>
                <a:cubicBezTo>
                  <a:pt x="207" y="48"/>
                  <a:pt x="206" y="47"/>
                  <a:pt x="206" y="48"/>
                </a:cubicBezTo>
                <a:close/>
                <a:moveTo>
                  <a:pt x="205" y="49"/>
                </a:moveTo>
                <a:cubicBezTo>
                  <a:pt x="206" y="49"/>
                  <a:pt x="205" y="49"/>
                  <a:pt x="205" y="49"/>
                </a:cubicBezTo>
                <a:close/>
                <a:moveTo>
                  <a:pt x="4" y="55"/>
                </a:moveTo>
                <a:cubicBezTo>
                  <a:pt x="5" y="55"/>
                  <a:pt x="4" y="55"/>
                  <a:pt x="4" y="55"/>
                </a:cubicBezTo>
                <a:close/>
                <a:moveTo>
                  <a:pt x="4" y="56"/>
                </a:moveTo>
                <a:cubicBezTo>
                  <a:pt x="5" y="56"/>
                  <a:pt x="4" y="56"/>
                  <a:pt x="4" y="56"/>
                </a:cubicBezTo>
                <a:close/>
                <a:moveTo>
                  <a:pt x="208" y="67"/>
                </a:moveTo>
                <a:cubicBezTo>
                  <a:pt x="208" y="67"/>
                  <a:pt x="208" y="67"/>
                  <a:pt x="208" y="67"/>
                </a:cubicBezTo>
                <a:close/>
                <a:moveTo>
                  <a:pt x="4" y="70"/>
                </a:moveTo>
                <a:cubicBezTo>
                  <a:pt x="5" y="73"/>
                  <a:pt x="3" y="69"/>
                  <a:pt x="4" y="70"/>
                </a:cubicBezTo>
                <a:close/>
                <a:moveTo>
                  <a:pt x="4" y="71"/>
                </a:moveTo>
                <a:cubicBezTo>
                  <a:pt x="5" y="71"/>
                  <a:pt x="4" y="70"/>
                  <a:pt x="4" y="71"/>
                </a:cubicBezTo>
                <a:close/>
                <a:moveTo>
                  <a:pt x="4" y="75"/>
                </a:moveTo>
                <a:cubicBezTo>
                  <a:pt x="5" y="75"/>
                  <a:pt x="4" y="74"/>
                  <a:pt x="4" y="75"/>
                </a:cubicBezTo>
                <a:close/>
                <a:moveTo>
                  <a:pt x="4" y="75"/>
                </a:moveTo>
                <a:cubicBezTo>
                  <a:pt x="4" y="75"/>
                  <a:pt x="4" y="75"/>
                  <a:pt x="4" y="75"/>
                </a:cubicBezTo>
                <a:close/>
                <a:moveTo>
                  <a:pt x="4" y="75"/>
                </a:moveTo>
                <a:cubicBezTo>
                  <a:pt x="5" y="75"/>
                  <a:pt x="4" y="75"/>
                  <a:pt x="4" y="75"/>
                </a:cubicBezTo>
                <a:close/>
                <a:moveTo>
                  <a:pt x="4" y="76"/>
                </a:moveTo>
                <a:cubicBezTo>
                  <a:pt x="4" y="76"/>
                  <a:pt x="4" y="76"/>
                  <a:pt x="4" y="76"/>
                </a:cubicBezTo>
                <a:close/>
                <a:moveTo>
                  <a:pt x="3" y="77"/>
                </a:moveTo>
                <a:cubicBezTo>
                  <a:pt x="3" y="77"/>
                  <a:pt x="3" y="77"/>
                  <a:pt x="3" y="77"/>
                </a:cubicBezTo>
                <a:close/>
                <a:moveTo>
                  <a:pt x="209" y="83"/>
                </a:moveTo>
                <a:cubicBezTo>
                  <a:pt x="209" y="83"/>
                  <a:pt x="208" y="83"/>
                  <a:pt x="209" y="83"/>
                </a:cubicBezTo>
                <a:close/>
                <a:moveTo>
                  <a:pt x="207" y="92"/>
                </a:moveTo>
                <a:cubicBezTo>
                  <a:pt x="207" y="93"/>
                  <a:pt x="207" y="92"/>
                  <a:pt x="207" y="92"/>
                </a:cubicBezTo>
                <a:close/>
                <a:moveTo>
                  <a:pt x="4" y="93"/>
                </a:moveTo>
                <a:cubicBezTo>
                  <a:pt x="4" y="93"/>
                  <a:pt x="4" y="93"/>
                  <a:pt x="4" y="93"/>
                </a:cubicBezTo>
                <a:close/>
                <a:moveTo>
                  <a:pt x="3" y="94"/>
                </a:moveTo>
                <a:cubicBezTo>
                  <a:pt x="4" y="94"/>
                  <a:pt x="3" y="94"/>
                  <a:pt x="3" y="94"/>
                </a:cubicBezTo>
                <a:close/>
                <a:moveTo>
                  <a:pt x="3" y="94"/>
                </a:moveTo>
                <a:cubicBezTo>
                  <a:pt x="3" y="94"/>
                  <a:pt x="3" y="94"/>
                  <a:pt x="3" y="94"/>
                </a:cubicBezTo>
                <a:close/>
                <a:moveTo>
                  <a:pt x="3" y="95"/>
                </a:moveTo>
                <a:cubicBezTo>
                  <a:pt x="3" y="95"/>
                  <a:pt x="3" y="95"/>
                  <a:pt x="3" y="95"/>
                </a:cubicBezTo>
                <a:close/>
                <a:moveTo>
                  <a:pt x="3" y="95"/>
                </a:moveTo>
                <a:cubicBezTo>
                  <a:pt x="3" y="95"/>
                  <a:pt x="2" y="95"/>
                  <a:pt x="3" y="95"/>
                </a:cubicBezTo>
                <a:close/>
                <a:moveTo>
                  <a:pt x="209" y="97"/>
                </a:moveTo>
                <a:cubicBezTo>
                  <a:pt x="209" y="98"/>
                  <a:pt x="208" y="97"/>
                  <a:pt x="209" y="97"/>
                </a:cubicBezTo>
                <a:close/>
                <a:moveTo>
                  <a:pt x="2" y="99"/>
                </a:moveTo>
                <a:cubicBezTo>
                  <a:pt x="2" y="100"/>
                  <a:pt x="2" y="98"/>
                  <a:pt x="2" y="99"/>
                </a:cubicBezTo>
                <a:close/>
                <a:moveTo>
                  <a:pt x="2" y="103"/>
                </a:moveTo>
                <a:cubicBezTo>
                  <a:pt x="2" y="103"/>
                  <a:pt x="2" y="103"/>
                  <a:pt x="2" y="103"/>
                </a:cubicBezTo>
                <a:close/>
                <a:moveTo>
                  <a:pt x="207" y="105"/>
                </a:moveTo>
                <a:cubicBezTo>
                  <a:pt x="207" y="105"/>
                  <a:pt x="207" y="104"/>
                  <a:pt x="207" y="105"/>
                </a:cubicBezTo>
                <a:close/>
                <a:moveTo>
                  <a:pt x="2" y="106"/>
                </a:moveTo>
                <a:cubicBezTo>
                  <a:pt x="2" y="106"/>
                  <a:pt x="1" y="106"/>
                  <a:pt x="2" y="106"/>
                </a:cubicBezTo>
                <a:close/>
                <a:moveTo>
                  <a:pt x="4" y="112"/>
                </a:moveTo>
                <a:cubicBezTo>
                  <a:pt x="4" y="113"/>
                  <a:pt x="4" y="112"/>
                  <a:pt x="4" y="112"/>
                </a:cubicBezTo>
                <a:close/>
                <a:moveTo>
                  <a:pt x="5" y="112"/>
                </a:moveTo>
                <a:cubicBezTo>
                  <a:pt x="5" y="113"/>
                  <a:pt x="5" y="112"/>
                  <a:pt x="5" y="112"/>
                </a:cubicBezTo>
                <a:close/>
                <a:moveTo>
                  <a:pt x="3" y="113"/>
                </a:moveTo>
                <a:cubicBezTo>
                  <a:pt x="4" y="113"/>
                  <a:pt x="3" y="113"/>
                  <a:pt x="3" y="113"/>
                </a:cubicBezTo>
                <a:close/>
                <a:moveTo>
                  <a:pt x="4" y="113"/>
                </a:moveTo>
                <a:cubicBezTo>
                  <a:pt x="4" y="113"/>
                  <a:pt x="4" y="113"/>
                  <a:pt x="4" y="113"/>
                </a:cubicBezTo>
                <a:close/>
                <a:moveTo>
                  <a:pt x="3" y="114"/>
                </a:moveTo>
                <a:cubicBezTo>
                  <a:pt x="4" y="114"/>
                  <a:pt x="3" y="114"/>
                  <a:pt x="3" y="114"/>
                </a:cubicBezTo>
                <a:close/>
                <a:moveTo>
                  <a:pt x="207" y="115"/>
                </a:moveTo>
                <a:cubicBezTo>
                  <a:pt x="208" y="116"/>
                  <a:pt x="208" y="114"/>
                  <a:pt x="207" y="115"/>
                </a:cubicBezTo>
                <a:close/>
                <a:moveTo>
                  <a:pt x="3" y="115"/>
                </a:moveTo>
                <a:cubicBezTo>
                  <a:pt x="3" y="115"/>
                  <a:pt x="3" y="115"/>
                  <a:pt x="3" y="115"/>
                </a:cubicBezTo>
                <a:close/>
                <a:moveTo>
                  <a:pt x="3" y="116"/>
                </a:moveTo>
                <a:cubicBezTo>
                  <a:pt x="3" y="116"/>
                  <a:pt x="2" y="116"/>
                  <a:pt x="3" y="116"/>
                </a:cubicBezTo>
                <a:close/>
                <a:moveTo>
                  <a:pt x="3" y="117"/>
                </a:moveTo>
                <a:cubicBezTo>
                  <a:pt x="3" y="117"/>
                  <a:pt x="2" y="117"/>
                  <a:pt x="3" y="117"/>
                </a:cubicBezTo>
                <a:close/>
                <a:moveTo>
                  <a:pt x="2" y="118"/>
                </a:moveTo>
                <a:cubicBezTo>
                  <a:pt x="2" y="118"/>
                  <a:pt x="2" y="118"/>
                  <a:pt x="2" y="118"/>
                </a:cubicBezTo>
                <a:close/>
                <a:moveTo>
                  <a:pt x="208" y="130"/>
                </a:moveTo>
                <a:cubicBezTo>
                  <a:pt x="208" y="130"/>
                  <a:pt x="208" y="130"/>
                  <a:pt x="208" y="130"/>
                </a:cubicBezTo>
                <a:close/>
                <a:moveTo>
                  <a:pt x="208" y="131"/>
                </a:moveTo>
                <a:cubicBezTo>
                  <a:pt x="208" y="131"/>
                  <a:pt x="208" y="131"/>
                  <a:pt x="208" y="131"/>
                </a:cubicBezTo>
                <a:close/>
                <a:moveTo>
                  <a:pt x="4" y="132"/>
                </a:moveTo>
                <a:cubicBezTo>
                  <a:pt x="4" y="132"/>
                  <a:pt x="4" y="132"/>
                  <a:pt x="4" y="132"/>
                </a:cubicBezTo>
                <a:close/>
                <a:moveTo>
                  <a:pt x="4" y="133"/>
                </a:moveTo>
                <a:cubicBezTo>
                  <a:pt x="4" y="133"/>
                  <a:pt x="4" y="132"/>
                  <a:pt x="4" y="133"/>
                </a:cubicBezTo>
                <a:close/>
                <a:moveTo>
                  <a:pt x="209" y="134"/>
                </a:moveTo>
                <a:cubicBezTo>
                  <a:pt x="209" y="134"/>
                  <a:pt x="209" y="134"/>
                  <a:pt x="209" y="134"/>
                </a:cubicBezTo>
                <a:close/>
                <a:moveTo>
                  <a:pt x="3" y="135"/>
                </a:moveTo>
                <a:cubicBezTo>
                  <a:pt x="3" y="135"/>
                  <a:pt x="3" y="135"/>
                  <a:pt x="3" y="135"/>
                </a:cubicBezTo>
                <a:close/>
                <a:moveTo>
                  <a:pt x="203" y="148"/>
                </a:moveTo>
                <a:cubicBezTo>
                  <a:pt x="203" y="148"/>
                  <a:pt x="203" y="148"/>
                  <a:pt x="203" y="148"/>
                </a:cubicBezTo>
                <a:close/>
                <a:moveTo>
                  <a:pt x="149" y="165"/>
                </a:moveTo>
                <a:cubicBezTo>
                  <a:pt x="150" y="166"/>
                  <a:pt x="150" y="164"/>
                  <a:pt x="149" y="165"/>
                </a:cubicBezTo>
                <a:close/>
                <a:moveTo>
                  <a:pt x="136" y="173"/>
                </a:moveTo>
                <a:cubicBezTo>
                  <a:pt x="137" y="174"/>
                  <a:pt x="135" y="172"/>
                  <a:pt x="136" y="173"/>
                </a:cubicBezTo>
                <a:close/>
                <a:moveTo>
                  <a:pt x="137" y="173"/>
                </a:moveTo>
                <a:cubicBezTo>
                  <a:pt x="137" y="174"/>
                  <a:pt x="137" y="173"/>
                  <a:pt x="137" y="173"/>
                </a:cubicBezTo>
                <a:close/>
                <a:moveTo>
                  <a:pt x="137" y="174"/>
                </a:moveTo>
                <a:cubicBezTo>
                  <a:pt x="137" y="174"/>
                  <a:pt x="136" y="174"/>
                  <a:pt x="137" y="174"/>
                </a:cubicBezTo>
                <a:close/>
                <a:moveTo>
                  <a:pt x="159" y="188"/>
                </a:moveTo>
                <a:cubicBezTo>
                  <a:pt x="159" y="189"/>
                  <a:pt x="159" y="188"/>
                  <a:pt x="159" y="188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600" dirty="0">
              <a:solidFill>
                <a:schemeClr val="bg1"/>
              </a:solidFill>
            </a:endParaRP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binding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24D29A15-EA6A-639F-8410-36000216D213}"/>
              </a:ext>
            </a:extLst>
          </p:cNvPr>
          <p:cNvGrpSpPr/>
          <p:nvPr/>
        </p:nvGrpSpPr>
        <p:grpSpPr>
          <a:xfrm>
            <a:off x="712772" y="3128634"/>
            <a:ext cx="1304556" cy="876197"/>
            <a:chOff x="686470" y="810699"/>
            <a:chExt cx="3006429" cy="1181185"/>
          </a:xfrm>
        </p:grpSpPr>
        <p:sp>
          <p:nvSpPr>
            <p:cNvPr id="41" name="Freeform 97">
              <a:extLst>
                <a:ext uri="{FF2B5EF4-FFF2-40B4-BE49-F238E27FC236}">
                  <a16:creationId xmlns:a16="http://schemas.microsoft.com/office/drawing/2014/main" id="{C0B250C7-CC7B-693B-C02E-95F1E68353F4}"/>
                </a:ext>
              </a:extLst>
            </p:cNvPr>
            <p:cNvSpPr>
              <a:spLocks noChangeAspect="1"/>
            </p:cNvSpPr>
            <p:nvPr/>
          </p:nvSpPr>
          <p:spPr bwMode="auto">
            <a:xfrm flipH="1">
              <a:off x="686470" y="810699"/>
              <a:ext cx="2655214" cy="1181185"/>
            </a:xfrm>
            <a:custGeom>
              <a:avLst/>
              <a:gdLst>
                <a:gd name="T0" fmla="*/ 132 w 151"/>
                <a:gd name="T1" fmla="*/ 3 h 126"/>
                <a:gd name="T2" fmla="*/ 148 w 151"/>
                <a:gd name="T3" fmla="*/ 18 h 126"/>
                <a:gd name="T4" fmla="*/ 149 w 151"/>
                <a:gd name="T5" fmla="*/ 26 h 126"/>
                <a:gd name="T6" fmla="*/ 148 w 151"/>
                <a:gd name="T7" fmla="*/ 41 h 126"/>
                <a:gd name="T8" fmla="*/ 149 w 151"/>
                <a:gd name="T9" fmla="*/ 53 h 126"/>
                <a:gd name="T10" fmla="*/ 146 w 151"/>
                <a:gd name="T11" fmla="*/ 73 h 126"/>
                <a:gd name="T12" fmla="*/ 147 w 151"/>
                <a:gd name="T13" fmla="*/ 73 h 126"/>
                <a:gd name="T14" fmla="*/ 146 w 151"/>
                <a:gd name="T15" fmla="*/ 78 h 126"/>
                <a:gd name="T16" fmla="*/ 148 w 151"/>
                <a:gd name="T17" fmla="*/ 82 h 126"/>
                <a:gd name="T18" fmla="*/ 144 w 151"/>
                <a:gd name="T19" fmla="*/ 90 h 126"/>
                <a:gd name="T20" fmla="*/ 128 w 151"/>
                <a:gd name="T21" fmla="*/ 97 h 126"/>
                <a:gd name="T22" fmla="*/ 121 w 151"/>
                <a:gd name="T23" fmla="*/ 98 h 126"/>
                <a:gd name="T24" fmla="*/ 100 w 151"/>
                <a:gd name="T25" fmla="*/ 98 h 126"/>
                <a:gd name="T26" fmla="*/ 94 w 151"/>
                <a:gd name="T27" fmla="*/ 96 h 126"/>
                <a:gd name="T28" fmla="*/ 80 w 151"/>
                <a:gd name="T29" fmla="*/ 103 h 126"/>
                <a:gd name="T30" fmla="*/ 71 w 151"/>
                <a:gd name="T31" fmla="*/ 109 h 126"/>
                <a:gd name="T32" fmla="*/ 45 w 151"/>
                <a:gd name="T33" fmla="*/ 125 h 126"/>
                <a:gd name="T34" fmla="*/ 47 w 151"/>
                <a:gd name="T35" fmla="*/ 122 h 126"/>
                <a:gd name="T36" fmla="*/ 52 w 151"/>
                <a:gd name="T37" fmla="*/ 108 h 126"/>
                <a:gd name="T38" fmla="*/ 55 w 151"/>
                <a:gd name="T39" fmla="*/ 99 h 126"/>
                <a:gd name="T40" fmla="*/ 31 w 151"/>
                <a:gd name="T41" fmla="*/ 96 h 126"/>
                <a:gd name="T42" fmla="*/ 6 w 151"/>
                <a:gd name="T43" fmla="*/ 92 h 126"/>
                <a:gd name="T44" fmla="*/ 2 w 151"/>
                <a:gd name="T45" fmla="*/ 85 h 126"/>
                <a:gd name="T46" fmla="*/ 3 w 151"/>
                <a:gd name="T47" fmla="*/ 81 h 126"/>
                <a:gd name="T48" fmla="*/ 0 w 151"/>
                <a:gd name="T49" fmla="*/ 52 h 126"/>
                <a:gd name="T50" fmla="*/ 0 w 151"/>
                <a:gd name="T51" fmla="*/ 18 h 126"/>
                <a:gd name="T52" fmla="*/ 2 w 151"/>
                <a:gd name="T53" fmla="*/ 9 h 126"/>
                <a:gd name="T54" fmla="*/ 6 w 151"/>
                <a:gd name="T55" fmla="*/ 4 h 126"/>
                <a:gd name="T56" fmla="*/ 17 w 151"/>
                <a:gd name="T57" fmla="*/ 3 h 126"/>
                <a:gd name="T58" fmla="*/ 43 w 151"/>
                <a:gd name="T59" fmla="*/ 3 h 126"/>
                <a:gd name="T60" fmla="*/ 61 w 151"/>
                <a:gd name="T61" fmla="*/ 2 h 126"/>
                <a:gd name="T62" fmla="*/ 84 w 151"/>
                <a:gd name="T63" fmla="*/ 3 h 126"/>
                <a:gd name="T64" fmla="*/ 118 w 151"/>
                <a:gd name="T65" fmla="*/ 1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1" h="126">
                  <a:moveTo>
                    <a:pt x="118" y="0"/>
                  </a:moveTo>
                  <a:cubicBezTo>
                    <a:pt x="123" y="2"/>
                    <a:pt x="127" y="1"/>
                    <a:pt x="132" y="3"/>
                  </a:cubicBezTo>
                  <a:cubicBezTo>
                    <a:pt x="132" y="1"/>
                    <a:pt x="136" y="6"/>
                    <a:pt x="137" y="3"/>
                  </a:cubicBezTo>
                  <a:cubicBezTo>
                    <a:pt x="144" y="5"/>
                    <a:pt x="146" y="14"/>
                    <a:pt x="148" y="18"/>
                  </a:cubicBezTo>
                  <a:cubicBezTo>
                    <a:pt x="147" y="21"/>
                    <a:pt x="148" y="23"/>
                    <a:pt x="148" y="25"/>
                  </a:cubicBezTo>
                  <a:cubicBezTo>
                    <a:pt x="148" y="26"/>
                    <a:pt x="149" y="25"/>
                    <a:pt x="149" y="26"/>
                  </a:cubicBezTo>
                  <a:cubicBezTo>
                    <a:pt x="151" y="28"/>
                    <a:pt x="149" y="29"/>
                    <a:pt x="148" y="32"/>
                  </a:cubicBezTo>
                  <a:cubicBezTo>
                    <a:pt x="149" y="35"/>
                    <a:pt x="149" y="38"/>
                    <a:pt x="148" y="41"/>
                  </a:cubicBezTo>
                  <a:cubicBezTo>
                    <a:pt x="150" y="43"/>
                    <a:pt x="151" y="44"/>
                    <a:pt x="148" y="46"/>
                  </a:cubicBezTo>
                  <a:cubicBezTo>
                    <a:pt x="148" y="48"/>
                    <a:pt x="148" y="52"/>
                    <a:pt x="149" y="53"/>
                  </a:cubicBezTo>
                  <a:cubicBezTo>
                    <a:pt x="147" y="59"/>
                    <a:pt x="148" y="65"/>
                    <a:pt x="147" y="73"/>
                  </a:cubicBezTo>
                  <a:cubicBezTo>
                    <a:pt x="147" y="73"/>
                    <a:pt x="146" y="73"/>
                    <a:pt x="146" y="73"/>
                  </a:cubicBezTo>
                  <a:cubicBezTo>
                    <a:pt x="146" y="73"/>
                    <a:pt x="147" y="74"/>
                    <a:pt x="147" y="74"/>
                  </a:cubicBezTo>
                  <a:cubicBezTo>
                    <a:pt x="147" y="74"/>
                    <a:pt x="147" y="74"/>
                    <a:pt x="147" y="73"/>
                  </a:cubicBezTo>
                  <a:cubicBezTo>
                    <a:pt x="148" y="74"/>
                    <a:pt x="148" y="78"/>
                    <a:pt x="146" y="77"/>
                  </a:cubicBezTo>
                  <a:cubicBezTo>
                    <a:pt x="146" y="77"/>
                    <a:pt x="146" y="78"/>
                    <a:pt x="146" y="78"/>
                  </a:cubicBezTo>
                  <a:cubicBezTo>
                    <a:pt x="146" y="79"/>
                    <a:pt x="147" y="78"/>
                    <a:pt x="148" y="79"/>
                  </a:cubicBezTo>
                  <a:cubicBezTo>
                    <a:pt x="147" y="79"/>
                    <a:pt x="148" y="81"/>
                    <a:pt x="148" y="82"/>
                  </a:cubicBezTo>
                  <a:cubicBezTo>
                    <a:pt x="144" y="84"/>
                    <a:pt x="146" y="88"/>
                    <a:pt x="143" y="88"/>
                  </a:cubicBezTo>
                  <a:cubicBezTo>
                    <a:pt x="144" y="89"/>
                    <a:pt x="142" y="90"/>
                    <a:pt x="144" y="90"/>
                  </a:cubicBezTo>
                  <a:cubicBezTo>
                    <a:pt x="142" y="92"/>
                    <a:pt x="141" y="94"/>
                    <a:pt x="139" y="95"/>
                  </a:cubicBezTo>
                  <a:cubicBezTo>
                    <a:pt x="135" y="97"/>
                    <a:pt x="132" y="96"/>
                    <a:pt x="128" y="97"/>
                  </a:cubicBezTo>
                  <a:cubicBezTo>
                    <a:pt x="127" y="97"/>
                    <a:pt x="126" y="96"/>
                    <a:pt x="125" y="96"/>
                  </a:cubicBezTo>
                  <a:cubicBezTo>
                    <a:pt x="123" y="97"/>
                    <a:pt x="123" y="98"/>
                    <a:pt x="121" y="98"/>
                  </a:cubicBezTo>
                  <a:cubicBezTo>
                    <a:pt x="119" y="96"/>
                    <a:pt x="116" y="95"/>
                    <a:pt x="113" y="97"/>
                  </a:cubicBezTo>
                  <a:cubicBezTo>
                    <a:pt x="110" y="94"/>
                    <a:pt x="103" y="95"/>
                    <a:pt x="100" y="98"/>
                  </a:cubicBezTo>
                  <a:cubicBezTo>
                    <a:pt x="98" y="97"/>
                    <a:pt x="97" y="96"/>
                    <a:pt x="95" y="95"/>
                  </a:cubicBezTo>
                  <a:cubicBezTo>
                    <a:pt x="95" y="95"/>
                    <a:pt x="95" y="96"/>
                    <a:pt x="94" y="96"/>
                  </a:cubicBezTo>
                  <a:cubicBezTo>
                    <a:pt x="93" y="97"/>
                    <a:pt x="90" y="96"/>
                    <a:pt x="90" y="98"/>
                  </a:cubicBezTo>
                  <a:cubicBezTo>
                    <a:pt x="86" y="98"/>
                    <a:pt x="83" y="103"/>
                    <a:pt x="80" y="103"/>
                  </a:cubicBezTo>
                  <a:cubicBezTo>
                    <a:pt x="78" y="105"/>
                    <a:pt x="74" y="106"/>
                    <a:pt x="73" y="109"/>
                  </a:cubicBezTo>
                  <a:cubicBezTo>
                    <a:pt x="72" y="108"/>
                    <a:pt x="72" y="109"/>
                    <a:pt x="71" y="109"/>
                  </a:cubicBezTo>
                  <a:cubicBezTo>
                    <a:pt x="66" y="115"/>
                    <a:pt x="56" y="117"/>
                    <a:pt x="51" y="125"/>
                  </a:cubicBezTo>
                  <a:cubicBezTo>
                    <a:pt x="50" y="124"/>
                    <a:pt x="47" y="126"/>
                    <a:pt x="45" y="125"/>
                  </a:cubicBezTo>
                  <a:cubicBezTo>
                    <a:pt x="45" y="124"/>
                    <a:pt x="46" y="123"/>
                    <a:pt x="47" y="121"/>
                  </a:cubicBezTo>
                  <a:cubicBezTo>
                    <a:pt x="47" y="122"/>
                    <a:pt x="46" y="122"/>
                    <a:pt x="47" y="122"/>
                  </a:cubicBezTo>
                  <a:cubicBezTo>
                    <a:pt x="48" y="121"/>
                    <a:pt x="47" y="117"/>
                    <a:pt x="49" y="118"/>
                  </a:cubicBezTo>
                  <a:cubicBezTo>
                    <a:pt x="49" y="115"/>
                    <a:pt x="52" y="112"/>
                    <a:pt x="52" y="108"/>
                  </a:cubicBezTo>
                  <a:cubicBezTo>
                    <a:pt x="55" y="105"/>
                    <a:pt x="55" y="103"/>
                    <a:pt x="57" y="99"/>
                  </a:cubicBezTo>
                  <a:cubicBezTo>
                    <a:pt x="56" y="99"/>
                    <a:pt x="56" y="99"/>
                    <a:pt x="55" y="99"/>
                  </a:cubicBezTo>
                  <a:cubicBezTo>
                    <a:pt x="53" y="96"/>
                    <a:pt x="44" y="95"/>
                    <a:pt x="40" y="98"/>
                  </a:cubicBezTo>
                  <a:cubicBezTo>
                    <a:pt x="38" y="96"/>
                    <a:pt x="33" y="98"/>
                    <a:pt x="31" y="96"/>
                  </a:cubicBezTo>
                  <a:cubicBezTo>
                    <a:pt x="27" y="98"/>
                    <a:pt x="20" y="96"/>
                    <a:pt x="17" y="98"/>
                  </a:cubicBezTo>
                  <a:cubicBezTo>
                    <a:pt x="14" y="95"/>
                    <a:pt x="10" y="96"/>
                    <a:pt x="6" y="92"/>
                  </a:cubicBezTo>
                  <a:cubicBezTo>
                    <a:pt x="6" y="90"/>
                    <a:pt x="6" y="90"/>
                    <a:pt x="4" y="89"/>
                  </a:cubicBezTo>
                  <a:cubicBezTo>
                    <a:pt x="6" y="88"/>
                    <a:pt x="4" y="86"/>
                    <a:pt x="2" y="85"/>
                  </a:cubicBezTo>
                  <a:cubicBezTo>
                    <a:pt x="3" y="84"/>
                    <a:pt x="2" y="82"/>
                    <a:pt x="2" y="81"/>
                  </a:cubicBezTo>
                  <a:cubicBezTo>
                    <a:pt x="3" y="82"/>
                    <a:pt x="2" y="80"/>
                    <a:pt x="3" y="81"/>
                  </a:cubicBezTo>
                  <a:cubicBezTo>
                    <a:pt x="1" y="73"/>
                    <a:pt x="2" y="64"/>
                    <a:pt x="1" y="54"/>
                  </a:cubicBezTo>
                  <a:cubicBezTo>
                    <a:pt x="1" y="53"/>
                    <a:pt x="1" y="53"/>
                    <a:pt x="0" y="52"/>
                  </a:cubicBezTo>
                  <a:cubicBezTo>
                    <a:pt x="0" y="52"/>
                    <a:pt x="1" y="52"/>
                    <a:pt x="1" y="52"/>
                  </a:cubicBezTo>
                  <a:cubicBezTo>
                    <a:pt x="2" y="38"/>
                    <a:pt x="0" y="31"/>
                    <a:pt x="0" y="18"/>
                  </a:cubicBezTo>
                  <a:cubicBezTo>
                    <a:pt x="0" y="18"/>
                    <a:pt x="1" y="17"/>
                    <a:pt x="0" y="17"/>
                  </a:cubicBezTo>
                  <a:cubicBezTo>
                    <a:pt x="0" y="15"/>
                    <a:pt x="2" y="12"/>
                    <a:pt x="2" y="9"/>
                  </a:cubicBezTo>
                  <a:cubicBezTo>
                    <a:pt x="3" y="7"/>
                    <a:pt x="4" y="5"/>
                    <a:pt x="6" y="5"/>
                  </a:cubicBezTo>
                  <a:cubicBezTo>
                    <a:pt x="6" y="5"/>
                    <a:pt x="6" y="4"/>
                    <a:pt x="6" y="4"/>
                  </a:cubicBezTo>
                  <a:cubicBezTo>
                    <a:pt x="10" y="3"/>
                    <a:pt x="16" y="4"/>
                    <a:pt x="17" y="2"/>
                  </a:cubicBezTo>
                  <a:cubicBezTo>
                    <a:pt x="18" y="2"/>
                    <a:pt x="17" y="2"/>
                    <a:pt x="17" y="3"/>
                  </a:cubicBezTo>
                  <a:cubicBezTo>
                    <a:pt x="18" y="2"/>
                    <a:pt x="19" y="1"/>
                    <a:pt x="20" y="3"/>
                  </a:cubicBezTo>
                  <a:cubicBezTo>
                    <a:pt x="29" y="2"/>
                    <a:pt x="35" y="1"/>
                    <a:pt x="43" y="3"/>
                  </a:cubicBezTo>
                  <a:cubicBezTo>
                    <a:pt x="44" y="1"/>
                    <a:pt x="47" y="2"/>
                    <a:pt x="47" y="1"/>
                  </a:cubicBezTo>
                  <a:cubicBezTo>
                    <a:pt x="51" y="2"/>
                    <a:pt x="59" y="2"/>
                    <a:pt x="61" y="2"/>
                  </a:cubicBezTo>
                  <a:cubicBezTo>
                    <a:pt x="68" y="4"/>
                    <a:pt x="78" y="2"/>
                    <a:pt x="84" y="3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8" y="2"/>
                    <a:pt x="91" y="4"/>
                    <a:pt x="95" y="2"/>
                  </a:cubicBezTo>
                  <a:cubicBezTo>
                    <a:pt x="101" y="2"/>
                    <a:pt x="112" y="1"/>
                    <a:pt x="118" y="1"/>
                  </a:cubicBezTo>
                  <a:cubicBezTo>
                    <a:pt x="118" y="1"/>
                    <a:pt x="118" y="1"/>
                    <a:pt x="118" y="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200" dirty="0">
                <a:solidFill>
                  <a:schemeClr val="bg1"/>
                </a:solidFill>
              </a:endParaRPr>
            </a:p>
            <a:p>
              <a:pPr algn="ctr"/>
              <a:r>
                <a:rPr lang="en-US" dirty="0">
                  <a:solidFill>
                    <a:schemeClr val="bg1"/>
                  </a:solidFill>
                </a:rPr>
                <a:t>boot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5A3AE89C-0A3E-9856-5E49-B98E52ED74FA}"/>
                </a:ext>
              </a:extLst>
            </p:cNvPr>
            <p:cNvSpPr/>
            <p:nvPr/>
          </p:nvSpPr>
          <p:spPr>
            <a:xfrm>
              <a:off x="854046" y="938686"/>
              <a:ext cx="2838853" cy="330494"/>
            </a:xfrm>
            <a:prstGeom prst="rect">
              <a:avLst/>
            </a:prstGeom>
          </p:spPr>
          <p:txBody>
            <a:bodyPr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DC319B42-A231-7352-C072-2A1F30FE7CD1}"/>
              </a:ext>
            </a:extLst>
          </p:cNvPr>
          <p:cNvGrpSpPr/>
          <p:nvPr/>
        </p:nvGrpSpPr>
        <p:grpSpPr>
          <a:xfrm>
            <a:off x="795225" y="3122438"/>
            <a:ext cx="4309280" cy="3479598"/>
            <a:chOff x="-1386798" y="1300170"/>
            <a:chExt cx="8853901" cy="5006957"/>
          </a:xfrm>
        </p:grpSpPr>
        <p:sp>
          <p:nvSpPr>
            <p:cNvPr id="44" name="Freeform 91">
              <a:extLst>
                <a:ext uri="{FF2B5EF4-FFF2-40B4-BE49-F238E27FC236}">
                  <a16:creationId xmlns:a16="http://schemas.microsoft.com/office/drawing/2014/main" id="{8DC99117-747B-AEE6-5B76-DA50014BA85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-1386798" y="4986099"/>
              <a:ext cx="2567795" cy="1321028"/>
            </a:xfrm>
            <a:custGeom>
              <a:avLst/>
              <a:gdLst>
                <a:gd name="T0" fmla="*/ 171 w 211"/>
                <a:gd name="T1" fmla="*/ 3 h 190"/>
                <a:gd name="T2" fmla="*/ 194 w 211"/>
                <a:gd name="T3" fmla="*/ 6 h 190"/>
                <a:gd name="T4" fmla="*/ 207 w 211"/>
                <a:gd name="T5" fmla="*/ 22 h 190"/>
                <a:gd name="T6" fmla="*/ 208 w 211"/>
                <a:gd name="T7" fmla="*/ 42 h 190"/>
                <a:gd name="T8" fmla="*/ 209 w 211"/>
                <a:gd name="T9" fmla="*/ 65 h 190"/>
                <a:gd name="T10" fmla="*/ 209 w 211"/>
                <a:gd name="T11" fmla="*/ 83 h 190"/>
                <a:gd name="T12" fmla="*/ 210 w 211"/>
                <a:gd name="T13" fmla="*/ 102 h 190"/>
                <a:gd name="T14" fmla="*/ 208 w 211"/>
                <a:gd name="T15" fmla="*/ 114 h 190"/>
                <a:gd name="T16" fmla="*/ 209 w 211"/>
                <a:gd name="T17" fmla="*/ 134 h 190"/>
                <a:gd name="T18" fmla="*/ 196 w 211"/>
                <a:gd name="T19" fmla="*/ 151 h 190"/>
                <a:gd name="T20" fmla="*/ 167 w 211"/>
                <a:gd name="T21" fmla="*/ 153 h 190"/>
                <a:gd name="T22" fmla="*/ 147 w 211"/>
                <a:gd name="T23" fmla="*/ 161 h 190"/>
                <a:gd name="T24" fmla="*/ 156 w 211"/>
                <a:gd name="T25" fmla="*/ 180 h 190"/>
                <a:gd name="T26" fmla="*/ 148 w 211"/>
                <a:gd name="T27" fmla="*/ 183 h 190"/>
                <a:gd name="T28" fmla="*/ 121 w 211"/>
                <a:gd name="T29" fmla="*/ 165 h 190"/>
                <a:gd name="T30" fmla="*/ 84 w 211"/>
                <a:gd name="T31" fmla="*/ 156 h 190"/>
                <a:gd name="T32" fmla="*/ 69 w 211"/>
                <a:gd name="T33" fmla="*/ 152 h 190"/>
                <a:gd name="T34" fmla="*/ 11 w 211"/>
                <a:gd name="T35" fmla="*/ 151 h 190"/>
                <a:gd name="T36" fmla="*/ 2 w 211"/>
                <a:gd name="T37" fmla="*/ 124 h 190"/>
                <a:gd name="T38" fmla="*/ 2 w 211"/>
                <a:gd name="T39" fmla="*/ 108 h 190"/>
                <a:gd name="T40" fmla="*/ 2 w 211"/>
                <a:gd name="T41" fmla="*/ 99 h 190"/>
                <a:gd name="T42" fmla="*/ 3 w 211"/>
                <a:gd name="T43" fmla="*/ 93 h 190"/>
                <a:gd name="T44" fmla="*/ 3 w 211"/>
                <a:gd name="T45" fmla="*/ 75 h 190"/>
                <a:gd name="T46" fmla="*/ 4 w 211"/>
                <a:gd name="T47" fmla="*/ 69 h 190"/>
                <a:gd name="T48" fmla="*/ 4 w 211"/>
                <a:gd name="T49" fmla="*/ 50 h 190"/>
                <a:gd name="T50" fmla="*/ 5 w 211"/>
                <a:gd name="T51" fmla="*/ 30 h 190"/>
                <a:gd name="T52" fmla="*/ 6 w 211"/>
                <a:gd name="T53" fmla="*/ 16 h 190"/>
                <a:gd name="T54" fmla="*/ 10 w 211"/>
                <a:gd name="T55" fmla="*/ 7 h 190"/>
                <a:gd name="T56" fmla="*/ 21 w 211"/>
                <a:gd name="T57" fmla="*/ 4 h 190"/>
                <a:gd name="T58" fmla="*/ 55 w 211"/>
                <a:gd name="T59" fmla="*/ 4 h 190"/>
                <a:gd name="T60" fmla="*/ 73 w 211"/>
                <a:gd name="T61" fmla="*/ 2 h 190"/>
                <a:gd name="T62" fmla="*/ 109 w 211"/>
                <a:gd name="T63" fmla="*/ 2 h 190"/>
                <a:gd name="T64" fmla="*/ 202 w 211"/>
                <a:gd name="T65" fmla="*/ 148 h 190"/>
                <a:gd name="T66" fmla="*/ 9 w 211"/>
                <a:gd name="T67" fmla="*/ 10 h 190"/>
                <a:gd name="T68" fmla="*/ 182 w 211"/>
                <a:gd name="T69" fmla="*/ 2 h 190"/>
                <a:gd name="T70" fmla="*/ 67 w 211"/>
                <a:gd name="T71" fmla="*/ 3 h 190"/>
                <a:gd name="T72" fmla="*/ 44 w 211"/>
                <a:gd name="T73" fmla="*/ 4 h 190"/>
                <a:gd name="T74" fmla="*/ 27 w 211"/>
                <a:gd name="T75" fmla="*/ 4 h 190"/>
                <a:gd name="T76" fmla="*/ 26 w 211"/>
                <a:gd name="T77" fmla="*/ 4 h 190"/>
                <a:gd name="T78" fmla="*/ 19 w 211"/>
                <a:gd name="T79" fmla="*/ 6 h 190"/>
                <a:gd name="T80" fmla="*/ 10 w 211"/>
                <a:gd name="T81" fmla="*/ 9 h 190"/>
                <a:gd name="T82" fmla="*/ 8 w 211"/>
                <a:gd name="T83" fmla="*/ 11 h 190"/>
                <a:gd name="T84" fmla="*/ 6 w 211"/>
                <a:gd name="T85" fmla="*/ 18 h 190"/>
                <a:gd name="T86" fmla="*/ 206 w 211"/>
                <a:gd name="T87" fmla="*/ 22 h 190"/>
                <a:gd name="T88" fmla="*/ 4 w 211"/>
                <a:gd name="T89" fmla="*/ 34 h 190"/>
                <a:gd name="T90" fmla="*/ 205 w 211"/>
                <a:gd name="T91" fmla="*/ 49 h 190"/>
                <a:gd name="T92" fmla="*/ 4 w 211"/>
                <a:gd name="T93" fmla="*/ 70 h 190"/>
                <a:gd name="T94" fmla="*/ 4 w 211"/>
                <a:gd name="T95" fmla="*/ 75 h 190"/>
                <a:gd name="T96" fmla="*/ 207 w 211"/>
                <a:gd name="T97" fmla="*/ 92 h 190"/>
                <a:gd name="T98" fmla="*/ 3 w 211"/>
                <a:gd name="T99" fmla="*/ 95 h 190"/>
                <a:gd name="T100" fmla="*/ 2 w 211"/>
                <a:gd name="T101" fmla="*/ 103 h 190"/>
                <a:gd name="T102" fmla="*/ 5 w 211"/>
                <a:gd name="T103" fmla="*/ 112 h 190"/>
                <a:gd name="T104" fmla="*/ 207 w 211"/>
                <a:gd name="T105" fmla="*/ 115 h 190"/>
                <a:gd name="T106" fmla="*/ 2 w 211"/>
                <a:gd name="T107" fmla="*/ 118 h 190"/>
                <a:gd name="T108" fmla="*/ 4 w 211"/>
                <a:gd name="T109" fmla="*/ 133 h 190"/>
                <a:gd name="T110" fmla="*/ 149 w 211"/>
                <a:gd name="T111" fmla="*/ 165 h 190"/>
                <a:gd name="T112" fmla="*/ 159 w 211"/>
                <a:gd name="T113" fmla="*/ 18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11" h="190">
                  <a:moveTo>
                    <a:pt x="124" y="1"/>
                  </a:moveTo>
                  <a:cubicBezTo>
                    <a:pt x="125" y="1"/>
                    <a:pt x="124" y="1"/>
                    <a:pt x="124" y="1"/>
                  </a:cubicBezTo>
                  <a:cubicBezTo>
                    <a:pt x="132" y="0"/>
                    <a:pt x="142" y="2"/>
                    <a:pt x="154" y="1"/>
                  </a:cubicBezTo>
                  <a:cubicBezTo>
                    <a:pt x="154" y="1"/>
                    <a:pt x="153" y="1"/>
                    <a:pt x="153" y="1"/>
                  </a:cubicBezTo>
                  <a:cubicBezTo>
                    <a:pt x="154" y="1"/>
                    <a:pt x="154" y="1"/>
                    <a:pt x="154" y="2"/>
                  </a:cubicBezTo>
                  <a:cubicBezTo>
                    <a:pt x="154" y="1"/>
                    <a:pt x="155" y="1"/>
                    <a:pt x="155" y="2"/>
                  </a:cubicBezTo>
                  <a:cubicBezTo>
                    <a:pt x="156" y="1"/>
                    <a:pt x="165" y="0"/>
                    <a:pt x="166" y="3"/>
                  </a:cubicBezTo>
                  <a:cubicBezTo>
                    <a:pt x="167" y="1"/>
                    <a:pt x="170" y="4"/>
                    <a:pt x="171" y="3"/>
                  </a:cubicBezTo>
                  <a:cubicBezTo>
                    <a:pt x="172" y="3"/>
                    <a:pt x="172" y="4"/>
                    <a:pt x="174" y="3"/>
                  </a:cubicBezTo>
                  <a:cubicBezTo>
                    <a:pt x="174" y="2"/>
                    <a:pt x="172" y="4"/>
                    <a:pt x="172" y="3"/>
                  </a:cubicBezTo>
                  <a:cubicBezTo>
                    <a:pt x="171" y="3"/>
                    <a:pt x="175" y="2"/>
                    <a:pt x="175" y="3"/>
                  </a:cubicBezTo>
                  <a:cubicBezTo>
                    <a:pt x="176" y="2"/>
                    <a:pt x="179" y="3"/>
                    <a:pt x="180" y="2"/>
                  </a:cubicBezTo>
                  <a:cubicBezTo>
                    <a:pt x="181" y="2"/>
                    <a:pt x="188" y="2"/>
                    <a:pt x="188" y="4"/>
                  </a:cubicBezTo>
                  <a:cubicBezTo>
                    <a:pt x="189" y="3"/>
                    <a:pt x="189" y="4"/>
                    <a:pt x="189" y="4"/>
                  </a:cubicBezTo>
                  <a:cubicBezTo>
                    <a:pt x="191" y="4"/>
                    <a:pt x="192" y="5"/>
                    <a:pt x="195" y="4"/>
                  </a:cubicBezTo>
                  <a:cubicBezTo>
                    <a:pt x="194" y="5"/>
                    <a:pt x="195" y="5"/>
                    <a:pt x="194" y="6"/>
                  </a:cubicBezTo>
                  <a:cubicBezTo>
                    <a:pt x="196" y="8"/>
                    <a:pt x="202" y="6"/>
                    <a:pt x="202" y="8"/>
                  </a:cubicBezTo>
                  <a:cubicBezTo>
                    <a:pt x="202" y="8"/>
                    <a:pt x="202" y="8"/>
                    <a:pt x="203" y="8"/>
                  </a:cubicBezTo>
                  <a:cubicBezTo>
                    <a:pt x="203" y="8"/>
                    <a:pt x="203" y="8"/>
                    <a:pt x="202" y="8"/>
                  </a:cubicBezTo>
                  <a:cubicBezTo>
                    <a:pt x="204" y="9"/>
                    <a:pt x="205" y="11"/>
                    <a:pt x="207" y="12"/>
                  </a:cubicBezTo>
                  <a:cubicBezTo>
                    <a:pt x="206" y="13"/>
                    <a:pt x="207" y="13"/>
                    <a:pt x="208" y="14"/>
                  </a:cubicBezTo>
                  <a:cubicBezTo>
                    <a:pt x="207" y="16"/>
                    <a:pt x="207" y="17"/>
                    <a:pt x="208" y="19"/>
                  </a:cubicBezTo>
                  <a:cubicBezTo>
                    <a:pt x="208" y="19"/>
                    <a:pt x="208" y="19"/>
                    <a:pt x="207" y="19"/>
                  </a:cubicBezTo>
                  <a:cubicBezTo>
                    <a:pt x="207" y="20"/>
                    <a:pt x="208" y="21"/>
                    <a:pt x="207" y="22"/>
                  </a:cubicBezTo>
                  <a:cubicBezTo>
                    <a:pt x="210" y="24"/>
                    <a:pt x="209" y="27"/>
                    <a:pt x="209" y="30"/>
                  </a:cubicBezTo>
                  <a:cubicBezTo>
                    <a:pt x="207" y="29"/>
                    <a:pt x="208" y="31"/>
                    <a:pt x="207" y="32"/>
                  </a:cubicBezTo>
                  <a:cubicBezTo>
                    <a:pt x="208" y="32"/>
                    <a:pt x="207" y="32"/>
                    <a:pt x="207" y="33"/>
                  </a:cubicBezTo>
                  <a:cubicBezTo>
                    <a:pt x="208" y="33"/>
                    <a:pt x="209" y="35"/>
                    <a:pt x="209" y="37"/>
                  </a:cubicBezTo>
                  <a:cubicBezTo>
                    <a:pt x="209" y="38"/>
                    <a:pt x="208" y="37"/>
                    <a:pt x="208" y="38"/>
                  </a:cubicBezTo>
                  <a:cubicBezTo>
                    <a:pt x="208" y="37"/>
                    <a:pt x="207" y="40"/>
                    <a:pt x="207" y="38"/>
                  </a:cubicBezTo>
                  <a:cubicBezTo>
                    <a:pt x="206" y="38"/>
                    <a:pt x="207" y="40"/>
                    <a:pt x="208" y="39"/>
                  </a:cubicBezTo>
                  <a:cubicBezTo>
                    <a:pt x="207" y="40"/>
                    <a:pt x="207" y="41"/>
                    <a:pt x="208" y="42"/>
                  </a:cubicBezTo>
                  <a:cubicBezTo>
                    <a:pt x="208" y="42"/>
                    <a:pt x="207" y="42"/>
                    <a:pt x="206" y="42"/>
                  </a:cubicBezTo>
                  <a:cubicBezTo>
                    <a:pt x="206" y="43"/>
                    <a:pt x="207" y="43"/>
                    <a:pt x="207" y="42"/>
                  </a:cubicBezTo>
                  <a:cubicBezTo>
                    <a:pt x="207" y="45"/>
                    <a:pt x="208" y="46"/>
                    <a:pt x="207" y="48"/>
                  </a:cubicBezTo>
                  <a:cubicBezTo>
                    <a:pt x="206" y="48"/>
                    <a:pt x="207" y="50"/>
                    <a:pt x="206" y="49"/>
                  </a:cubicBezTo>
                  <a:cubicBezTo>
                    <a:pt x="206" y="49"/>
                    <a:pt x="206" y="50"/>
                    <a:pt x="205" y="50"/>
                  </a:cubicBezTo>
                  <a:cubicBezTo>
                    <a:pt x="208" y="51"/>
                    <a:pt x="206" y="55"/>
                    <a:pt x="209" y="56"/>
                  </a:cubicBezTo>
                  <a:cubicBezTo>
                    <a:pt x="208" y="56"/>
                    <a:pt x="208" y="56"/>
                    <a:pt x="208" y="56"/>
                  </a:cubicBezTo>
                  <a:cubicBezTo>
                    <a:pt x="210" y="59"/>
                    <a:pt x="208" y="61"/>
                    <a:pt x="209" y="65"/>
                  </a:cubicBezTo>
                  <a:cubicBezTo>
                    <a:pt x="209" y="66"/>
                    <a:pt x="209" y="65"/>
                    <a:pt x="208" y="65"/>
                  </a:cubicBezTo>
                  <a:cubicBezTo>
                    <a:pt x="208" y="65"/>
                    <a:pt x="209" y="65"/>
                    <a:pt x="209" y="66"/>
                  </a:cubicBezTo>
                  <a:cubicBezTo>
                    <a:pt x="208" y="65"/>
                    <a:pt x="208" y="67"/>
                    <a:pt x="209" y="68"/>
                  </a:cubicBezTo>
                  <a:cubicBezTo>
                    <a:pt x="208" y="68"/>
                    <a:pt x="208" y="68"/>
                    <a:pt x="208" y="67"/>
                  </a:cubicBezTo>
                  <a:cubicBezTo>
                    <a:pt x="207" y="68"/>
                    <a:pt x="209" y="69"/>
                    <a:pt x="209" y="70"/>
                  </a:cubicBezTo>
                  <a:cubicBezTo>
                    <a:pt x="207" y="74"/>
                    <a:pt x="210" y="77"/>
                    <a:pt x="209" y="82"/>
                  </a:cubicBezTo>
                  <a:cubicBezTo>
                    <a:pt x="211" y="81"/>
                    <a:pt x="208" y="82"/>
                    <a:pt x="210" y="82"/>
                  </a:cubicBezTo>
                  <a:cubicBezTo>
                    <a:pt x="209" y="83"/>
                    <a:pt x="209" y="83"/>
                    <a:pt x="209" y="83"/>
                  </a:cubicBezTo>
                  <a:cubicBezTo>
                    <a:pt x="209" y="84"/>
                    <a:pt x="209" y="86"/>
                    <a:pt x="209" y="87"/>
                  </a:cubicBezTo>
                  <a:cubicBezTo>
                    <a:pt x="209" y="88"/>
                    <a:pt x="209" y="88"/>
                    <a:pt x="209" y="89"/>
                  </a:cubicBezTo>
                  <a:cubicBezTo>
                    <a:pt x="209" y="89"/>
                    <a:pt x="209" y="89"/>
                    <a:pt x="209" y="89"/>
                  </a:cubicBezTo>
                  <a:cubicBezTo>
                    <a:pt x="209" y="89"/>
                    <a:pt x="209" y="90"/>
                    <a:pt x="208" y="90"/>
                  </a:cubicBezTo>
                  <a:cubicBezTo>
                    <a:pt x="208" y="92"/>
                    <a:pt x="208" y="93"/>
                    <a:pt x="207" y="94"/>
                  </a:cubicBezTo>
                  <a:cubicBezTo>
                    <a:pt x="207" y="94"/>
                    <a:pt x="208" y="94"/>
                    <a:pt x="208" y="94"/>
                  </a:cubicBezTo>
                  <a:cubicBezTo>
                    <a:pt x="209" y="94"/>
                    <a:pt x="208" y="95"/>
                    <a:pt x="209" y="95"/>
                  </a:cubicBezTo>
                  <a:cubicBezTo>
                    <a:pt x="209" y="98"/>
                    <a:pt x="210" y="100"/>
                    <a:pt x="210" y="102"/>
                  </a:cubicBezTo>
                  <a:cubicBezTo>
                    <a:pt x="210" y="103"/>
                    <a:pt x="209" y="103"/>
                    <a:pt x="209" y="104"/>
                  </a:cubicBezTo>
                  <a:cubicBezTo>
                    <a:pt x="208" y="104"/>
                    <a:pt x="208" y="103"/>
                    <a:pt x="208" y="103"/>
                  </a:cubicBezTo>
                  <a:cubicBezTo>
                    <a:pt x="208" y="104"/>
                    <a:pt x="209" y="107"/>
                    <a:pt x="209" y="106"/>
                  </a:cubicBezTo>
                  <a:cubicBezTo>
                    <a:pt x="210" y="106"/>
                    <a:pt x="210" y="107"/>
                    <a:pt x="210" y="107"/>
                  </a:cubicBezTo>
                  <a:cubicBezTo>
                    <a:pt x="209" y="107"/>
                    <a:pt x="209" y="112"/>
                    <a:pt x="209" y="114"/>
                  </a:cubicBezTo>
                  <a:cubicBezTo>
                    <a:pt x="208" y="113"/>
                    <a:pt x="209" y="114"/>
                    <a:pt x="208" y="114"/>
                  </a:cubicBezTo>
                  <a:cubicBezTo>
                    <a:pt x="208" y="114"/>
                    <a:pt x="208" y="114"/>
                    <a:pt x="208" y="114"/>
                  </a:cubicBezTo>
                  <a:cubicBezTo>
                    <a:pt x="208" y="114"/>
                    <a:pt x="208" y="114"/>
                    <a:pt x="208" y="114"/>
                  </a:cubicBezTo>
                  <a:cubicBezTo>
                    <a:pt x="208" y="115"/>
                    <a:pt x="208" y="115"/>
                    <a:pt x="208" y="116"/>
                  </a:cubicBezTo>
                  <a:cubicBezTo>
                    <a:pt x="208" y="115"/>
                    <a:pt x="209" y="115"/>
                    <a:pt x="209" y="115"/>
                  </a:cubicBezTo>
                  <a:cubicBezTo>
                    <a:pt x="209" y="118"/>
                    <a:pt x="209" y="126"/>
                    <a:pt x="209" y="128"/>
                  </a:cubicBezTo>
                  <a:cubicBezTo>
                    <a:pt x="208" y="127"/>
                    <a:pt x="208" y="128"/>
                    <a:pt x="208" y="128"/>
                  </a:cubicBezTo>
                  <a:cubicBezTo>
                    <a:pt x="209" y="128"/>
                    <a:pt x="208" y="128"/>
                    <a:pt x="208" y="129"/>
                  </a:cubicBezTo>
                  <a:cubicBezTo>
                    <a:pt x="209" y="128"/>
                    <a:pt x="208" y="134"/>
                    <a:pt x="210" y="133"/>
                  </a:cubicBezTo>
                  <a:cubicBezTo>
                    <a:pt x="210" y="134"/>
                    <a:pt x="210" y="134"/>
                    <a:pt x="210" y="134"/>
                  </a:cubicBezTo>
                  <a:cubicBezTo>
                    <a:pt x="211" y="134"/>
                    <a:pt x="210" y="135"/>
                    <a:pt x="209" y="134"/>
                  </a:cubicBezTo>
                  <a:cubicBezTo>
                    <a:pt x="210" y="137"/>
                    <a:pt x="210" y="145"/>
                    <a:pt x="207" y="146"/>
                  </a:cubicBezTo>
                  <a:cubicBezTo>
                    <a:pt x="206" y="146"/>
                    <a:pt x="207" y="147"/>
                    <a:pt x="207" y="147"/>
                  </a:cubicBezTo>
                  <a:cubicBezTo>
                    <a:pt x="207" y="148"/>
                    <a:pt x="207" y="146"/>
                    <a:pt x="206" y="146"/>
                  </a:cubicBezTo>
                  <a:cubicBezTo>
                    <a:pt x="205" y="148"/>
                    <a:pt x="203" y="148"/>
                    <a:pt x="202" y="149"/>
                  </a:cubicBezTo>
                  <a:cubicBezTo>
                    <a:pt x="201" y="149"/>
                    <a:pt x="201" y="148"/>
                    <a:pt x="201" y="148"/>
                  </a:cubicBezTo>
                  <a:cubicBezTo>
                    <a:pt x="200" y="149"/>
                    <a:pt x="200" y="149"/>
                    <a:pt x="198" y="149"/>
                  </a:cubicBezTo>
                  <a:cubicBezTo>
                    <a:pt x="199" y="150"/>
                    <a:pt x="197" y="150"/>
                    <a:pt x="196" y="150"/>
                  </a:cubicBezTo>
                  <a:cubicBezTo>
                    <a:pt x="196" y="150"/>
                    <a:pt x="196" y="151"/>
                    <a:pt x="196" y="151"/>
                  </a:cubicBezTo>
                  <a:cubicBezTo>
                    <a:pt x="191" y="151"/>
                    <a:pt x="182" y="154"/>
                    <a:pt x="179" y="150"/>
                  </a:cubicBezTo>
                  <a:cubicBezTo>
                    <a:pt x="178" y="151"/>
                    <a:pt x="177" y="152"/>
                    <a:pt x="176" y="151"/>
                  </a:cubicBezTo>
                  <a:cubicBezTo>
                    <a:pt x="176" y="151"/>
                    <a:pt x="176" y="151"/>
                    <a:pt x="176" y="151"/>
                  </a:cubicBezTo>
                  <a:cubicBezTo>
                    <a:pt x="176" y="152"/>
                    <a:pt x="174" y="150"/>
                    <a:pt x="173" y="152"/>
                  </a:cubicBezTo>
                  <a:cubicBezTo>
                    <a:pt x="173" y="151"/>
                    <a:pt x="173" y="151"/>
                    <a:pt x="173" y="151"/>
                  </a:cubicBezTo>
                  <a:cubicBezTo>
                    <a:pt x="173" y="151"/>
                    <a:pt x="172" y="151"/>
                    <a:pt x="172" y="151"/>
                  </a:cubicBezTo>
                  <a:cubicBezTo>
                    <a:pt x="173" y="152"/>
                    <a:pt x="170" y="153"/>
                    <a:pt x="169" y="152"/>
                  </a:cubicBezTo>
                  <a:cubicBezTo>
                    <a:pt x="170" y="153"/>
                    <a:pt x="168" y="153"/>
                    <a:pt x="167" y="153"/>
                  </a:cubicBezTo>
                  <a:cubicBezTo>
                    <a:pt x="167" y="152"/>
                    <a:pt x="166" y="152"/>
                    <a:pt x="166" y="151"/>
                  </a:cubicBezTo>
                  <a:cubicBezTo>
                    <a:pt x="165" y="152"/>
                    <a:pt x="166" y="153"/>
                    <a:pt x="165" y="152"/>
                  </a:cubicBezTo>
                  <a:cubicBezTo>
                    <a:pt x="162" y="155"/>
                    <a:pt x="150" y="151"/>
                    <a:pt x="146" y="155"/>
                  </a:cubicBezTo>
                  <a:cubicBezTo>
                    <a:pt x="147" y="156"/>
                    <a:pt x="147" y="156"/>
                    <a:pt x="146" y="156"/>
                  </a:cubicBezTo>
                  <a:cubicBezTo>
                    <a:pt x="146" y="157"/>
                    <a:pt x="147" y="157"/>
                    <a:pt x="146" y="158"/>
                  </a:cubicBezTo>
                  <a:cubicBezTo>
                    <a:pt x="147" y="158"/>
                    <a:pt x="147" y="158"/>
                    <a:pt x="147" y="160"/>
                  </a:cubicBezTo>
                  <a:cubicBezTo>
                    <a:pt x="147" y="160"/>
                    <a:pt x="147" y="159"/>
                    <a:pt x="146" y="159"/>
                  </a:cubicBezTo>
                  <a:cubicBezTo>
                    <a:pt x="146" y="160"/>
                    <a:pt x="149" y="162"/>
                    <a:pt x="147" y="161"/>
                  </a:cubicBezTo>
                  <a:cubicBezTo>
                    <a:pt x="150" y="163"/>
                    <a:pt x="151" y="168"/>
                    <a:pt x="152" y="170"/>
                  </a:cubicBezTo>
                  <a:cubicBezTo>
                    <a:pt x="152" y="171"/>
                    <a:pt x="152" y="170"/>
                    <a:pt x="151" y="171"/>
                  </a:cubicBezTo>
                  <a:cubicBezTo>
                    <a:pt x="151" y="171"/>
                    <a:pt x="153" y="173"/>
                    <a:pt x="151" y="173"/>
                  </a:cubicBezTo>
                  <a:cubicBezTo>
                    <a:pt x="152" y="173"/>
                    <a:pt x="152" y="173"/>
                    <a:pt x="152" y="173"/>
                  </a:cubicBezTo>
                  <a:cubicBezTo>
                    <a:pt x="152" y="173"/>
                    <a:pt x="152" y="173"/>
                    <a:pt x="152" y="173"/>
                  </a:cubicBezTo>
                  <a:cubicBezTo>
                    <a:pt x="153" y="173"/>
                    <a:pt x="153" y="173"/>
                    <a:pt x="153" y="174"/>
                  </a:cubicBezTo>
                  <a:cubicBezTo>
                    <a:pt x="153" y="174"/>
                    <a:pt x="153" y="173"/>
                    <a:pt x="154" y="173"/>
                  </a:cubicBezTo>
                  <a:cubicBezTo>
                    <a:pt x="156" y="175"/>
                    <a:pt x="155" y="177"/>
                    <a:pt x="156" y="180"/>
                  </a:cubicBezTo>
                  <a:cubicBezTo>
                    <a:pt x="156" y="180"/>
                    <a:pt x="156" y="180"/>
                    <a:pt x="155" y="180"/>
                  </a:cubicBezTo>
                  <a:cubicBezTo>
                    <a:pt x="157" y="181"/>
                    <a:pt x="159" y="183"/>
                    <a:pt x="158" y="185"/>
                  </a:cubicBezTo>
                  <a:cubicBezTo>
                    <a:pt x="159" y="185"/>
                    <a:pt x="159" y="188"/>
                    <a:pt x="160" y="188"/>
                  </a:cubicBezTo>
                  <a:cubicBezTo>
                    <a:pt x="159" y="189"/>
                    <a:pt x="159" y="189"/>
                    <a:pt x="158" y="189"/>
                  </a:cubicBezTo>
                  <a:cubicBezTo>
                    <a:pt x="158" y="189"/>
                    <a:pt x="158" y="189"/>
                    <a:pt x="158" y="189"/>
                  </a:cubicBezTo>
                  <a:cubicBezTo>
                    <a:pt x="153" y="190"/>
                    <a:pt x="151" y="185"/>
                    <a:pt x="148" y="184"/>
                  </a:cubicBezTo>
                  <a:cubicBezTo>
                    <a:pt x="148" y="184"/>
                    <a:pt x="148" y="183"/>
                    <a:pt x="147" y="182"/>
                  </a:cubicBezTo>
                  <a:cubicBezTo>
                    <a:pt x="147" y="183"/>
                    <a:pt x="147" y="183"/>
                    <a:pt x="148" y="183"/>
                  </a:cubicBezTo>
                  <a:cubicBezTo>
                    <a:pt x="148" y="183"/>
                    <a:pt x="147" y="182"/>
                    <a:pt x="147" y="182"/>
                  </a:cubicBezTo>
                  <a:cubicBezTo>
                    <a:pt x="143" y="182"/>
                    <a:pt x="141" y="178"/>
                    <a:pt x="138" y="177"/>
                  </a:cubicBezTo>
                  <a:cubicBezTo>
                    <a:pt x="138" y="177"/>
                    <a:pt x="139" y="176"/>
                    <a:pt x="137" y="177"/>
                  </a:cubicBezTo>
                  <a:cubicBezTo>
                    <a:pt x="138" y="176"/>
                    <a:pt x="137" y="174"/>
                    <a:pt x="136" y="174"/>
                  </a:cubicBezTo>
                  <a:cubicBezTo>
                    <a:pt x="136" y="173"/>
                    <a:pt x="135" y="174"/>
                    <a:pt x="136" y="173"/>
                  </a:cubicBezTo>
                  <a:cubicBezTo>
                    <a:pt x="135" y="173"/>
                    <a:pt x="134" y="171"/>
                    <a:pt x="133" y="171"/>
                  </a:cubicBezTo>
                  <a:cubicBezTo>
                    <a:pt x="132" y="172"/>
                    <a:pt x="131" y="171"/>
                    <a:pt x="130" y="172"/>
                  </a:cubicBezTo>
                  <a:cubicBezTo>
                    <a:pt x="127" y="170"/>
                    <a:pt x="123" y="167"/>
                    <a:pt x="121" y="165"/>
                  </a:cubicBezTo>
                  <a:cubicBezTo>
                    <a:pt x="120" y="165"/>
                    <a:pt x="121" y="165"/>
                    <a:pt x="121" y="165"/>
                  </a:cubicBezTo>
                  <a:cubicBezTo>
                    <a:pt x="119" y="163"/>
                    <a:pt x="115" y="160"/>
                    <a:pt x="112" y="157"/>
                  </a:cubicBezTo>
                  <a:cubicBezTo>
                    <a:pt x="109" y="158"/>
                    <a:pt x="106" y="156"/>
                    <a:pt x="104" y="154"/>
                  </a:cubicBezTo>
                  <a:cubicBezTo>
                    <a:pt x="102" y="155"/>
                    <a:pt x="99" y="155"/>
                    <a:pt x="98" y="153"/>
                  </a:cubicBezTo>
                  <a:cubicBezTo>
                    <a:pt x="96" y="153"/>
                    <a:pt x="96" y="154"/>
                    <a:pt x="95" y="154"/>
                  </a:cubicBezTo>
                  <a:cubicBezTo>
                    <a:pt x="95" y="154"/>
                    <a:pt x="95" y="154"/>
                    <a:pt x="96" y="154"/>
                  </a:cubicBezTo>
                  <a:cubicBezTo>
                    <a:pt x="96" y="154"/>
                    <a:pt x="95" y="154"/>
                    <a:pt x="95" y="154"/>
                  </a:cubicBezTo>
                  <a:cubicBezTo>
                    <a:pt x="91" y="157"/>
                    <a:pt x="88" y="155"/>
                    <a:pt x="84" y="156"/>
                  </a:cubicBezTo>
                  <a:cubicBezTo>
                    <a:pt x="84" y="155"/>
                    <a:pt x="82" y="153"/>
                    <a:pt x="81" y="152"/>
                  </a:cubicBezTo>
                  <a:cubicBezTo>
                    <a:pt x="80" y="152"/>
                    <a:pt x="80" y="153"/>
                    <a:pt x="79" y="153"/>
                  </a:cubicBezTo>
                  <a:cubicBezTo>
                    <a:pt x="79" y="154"/>
                    <a:pt x="77" y="155"/>
                    <a:pt x="76" y="155"/>
                  </a:cubicBezTo>
                  <a:cubicBezTo>
                    <a:pt x="76" y="156"/>
                    <a:pt x="74" y="155"/>
                    <a:pt x="73" y="156"/>
                  </a:cubicBezTo>
                  <a:cubicBezTo>
                    <a:pt x="73" y="154"/>
                    <a:pt x="71" y="155"/>
                    <a:pt x="71" y="153"/>
                  </a:cubicBezTo>
                  <a:cubicBezTo>
                    <a:pt x="70" y="153"/>
                    <a:pt x="71" y="154"/>
                    <a:pt x="70" y="154"/>
                  </a:cubicBezTo>
                  <a:cubicBezTo>
                    <a:pt x="70" y="154"/>
                    <a:pt x="70" y="153"/>
                    <a:pt x="70" y="154"/>
                  </a:cubicBezTo>
                  <a:cubicBezTo>
                    <a:pt x="69" y="153"/>
                    <a:pt x="70" y="153"/>
                    <a:pt x="69" y="152"/>
                  </a:cubicBezTo>
                  <a:cubicBezTo>
                    <a:pt x="64" y="155"/>
                    <a:pt x="60" y="153"/>
                    <a:pt x="54" y="152"/>
                  </a:cubicBezTo>
                  <a:cubicBezTo>
                    <a:pt x="55" y="153"/>
                    <a:pt x="53" y="151"/>
                    <a:pt x="53" y="153"/>
                  </a:cubicBezTo>
                  <a:cubicBezTo>
                    <a:pt x="49" y="151"/>
                    <a:pt x="48" y="154"/>
                    <a:pt x="43" y="153"/>
                  </a:cubicBezTo>
                  <a:cubicBezTo>
                    <a:pt x="41" y="153"/>
                    <a:pt x="38" y="152"/>
                    <a:pt x="36" y="153"/>
                  </a:cubicBezTo>
                  <a:cubicBezTo>
                    <a:pt x="35" y="151"/>
                    <a:pt x="32" y="153"/>
                    <a:pt x="30" y="153"/>
                  </a:cubicBezTo>
                  <a:cubicBezTo>
                    <a:pt x="30" y="153"/>
                    <a:pt x="30" y="153"/>
                    <a:pt x="30" y="152"/>
                  </a:cubicBezTo>
                  <a:cubicBezTo>
                    <a:pt x="25" y="151"/>
                    <a:pt x="18" y="156"/>
                    <a:pt x="13" y="150"/>
                  </a:cubicBezTo>
                  <a:cubicBezTo>
                    <a:pt x="12" y="150"/>
                    <a:pt x="12" y="151"/>
                    <a:pt x="11" y="151"/>
                  </a:cubicBezTo>
                  <a:cubicBezTo>
                    <a:pt x="10" y="151"/>
                    <a:pt x="9" y="150"/>
                    <a:pt x="9" y="150"/>
                  </a:cubicBezTo>
                  <a:cubicBezTo>
                    <a:pt x="8" y="149"/>
                    <a:pt x="6" y="147"/>
                    <a:pt x="6" y="145"/>
                  </a:cubicBezTo>
                  <a:cubicBezTo>
                    <a:pt x="7" y="143"/>
                    <a:pt x="6" y="141"/>
                    <a:pt x="4" y="141"/>
                  </a:cubicBezTo>
                  <a:cubicBezTo>
                    <a:pt x="5" y="141"/>
                    <a:pt x="3" y="139"/>
                    <a:pt x="4" y="139"/>
                  </a:cubicBezTo>
                  <a:cubicBezTo>
                    <a:pt x="3" y="139"/>
                    <a:pt x="3" y="136"/>
                    <a:pt x="2" y="137"/>
                  </a:cubicBezTo>
                  <a:cubicBezTo>
                    <a:pt x="3" y="133"/>
                    <a:pt x="3" y="131"/>
                    <a:pt x="3" y="126"/>
                  </a:cubicBezTo>
                  <a:cubicBezTo>
                    <a:pt x="3" y="126"/>
                    <a:pt x="2" y="126"/>
                    <a:pt x="2" y="126"/>
                  </a:cubicBezTo>
                  <a:cubicBezTo>
                    <a:pt x="2" y="125"/>
                    <a:pt x="1" y="125"/>
                    <a:pt x="2" y="124"/>
                  </a:cubicBezTo>
                  <a:cubicBezTo>
                    <a:pt x="3" y="122"/>
                    <a:pt x="0" y="119"/>
                    <a:pt x="2" y="116"/>
                  </a:cubicBezTo>
                  <a:cubicBezTo>
                    <a:pt x="1" y="117"/>
                    <a:pt x="2" y="116"/>
                    <a:pt x="1" y="116"/>
                  </a:cubicBezTo>
                  <a:cubicBezTo>
                    <a:pt x="1" y="115"/>
                    <a:pt x="2" y="116"/>
                    <a:pt x="2" y="116"/>
                  </a:cubicBezTo>
                  <a:cubicBezTo>
                    <a:pt x="2" y="116"/>
                    <a:pt x="3" y="114"/>
                    <a:pt x="2" y="114"/>
                  </a:cubicBezTo>
                  <a:cubicBezTo>
                    <a:pt x="2" y="113"/>
                    <a:pt x="3" y="114"/>
                    <a:pt x="3" y="114"/>
                  </a:cubicBezTo>
                  <a:cubicBezTo>
                    <a:pt x="3" y="114"/>
                    <a:pt x="3" y="113"/>
                    <a:pt x="3" y="112"/>
                  </a:cubicBezTo>
                  <a:cubicBezTo>
                    <a:pt x="4" y="113"/>
                    <a:pt x="3" y="112"/>
                    <a:pt x="4" y="112"/>
                  </a:cubicBezTo>
                  <a:cubicBezTo>
                    <a:pt x="3" y="110"/>
                    <a:pt x="3" y="109"/>
                    <a:pt x="2" y="108"/>
                  </a:cubicBezTo>
                  <a:cubicBezTo>
                    <a:pt x="2" y="108"/>
                    <a:pt x="2" y="108"/>
                    <a:pt x="1" y="108"/>
                  </a:cubicBezTo>
                  <a:cubicBezTo>
                    <a:pt x="2" y="107"/>
                    <a:pt x="1" y="107"/>
                    <a:pt x="1" y="106"/>
                  </a:cubicBezTo>
                  <a:cubicBezTo>
                    <a:pt x="1" y="106"/>
                    <a:pt x="1" y="106"/>
                    <a:pt x="2" y="106"/>
                  </a:cubicBezTo>
                  <a:cubicBezTo>
                    <a:pt x="1" y="106"/>
                    <a:pt x="1" y="106"/>
                    <a:pt x="1" y="106"/>
                  </a:cubicBezTo>
                  <a:cubicBezTo>
                    <a:pt x="1" y="105"/>
                    <a:pt x="2" y="105"/>
                    <a:pt x="2" y="105"/>
                  </a:cubicBezTo>
                  <a:cubicBezTo>
                    <a:pt x="2" y="104"/>
                    <a:pt x="2" y="104"/>
                    <a:pt x="1" y="104"/>
                  </a:cubicBezTo>
                  <a:cubicBezTo>
                    <a:pt x="1" y="102"/>
                    <a:pt x="3" y="101"/>
                    <a:pt x="1" y="101"/>
                  </a:cubicBezTo>
                  <a:cubicBezTo>
                    <a:pt x="1" y="100"/>
                    <a:pt x="2" y="100"/>
                    <a:pt x="2" y="99"/>
                  </a:cubicBezTo>
                  <a:cubicBezTo>
                    <a:pt x="1" y="100"/>
                    <a:pt x="1" y="100"/>
                    <a:pt x="1" y="100"/>
                  </a:cubicBezTo>
                  <a:cubicBezTo>
                    <a:pt x="1" y="100"/>
                    <a:pt x="1" y="100"/>
                    <a:pt x="1" y="99"/>
                  </a:cubicBezTo>
                  <a:cubicBezTo>
                    <a:pt x="2" y="99"/>
                    <a:pt x="2" y="99"/>
                    <a:pt x="1" y="98"/>
                  </a:cubicBezTo>
                  <a:cubicBezTo>
                    <a:pt x="3" y="99"/>
                    <a:pt x="1" y="97"/>
                    <a:pt x="2" y="97"/>
                  </a:cubicBezTo>
                  <a:cubicBezTo>
                    <a:pt x="2" y="97"/>
                    <a:pt x="2" y="97"/>
                    <a:pt x="2" y="97"/>
                  </a:cubicBezTo>
                  <a:cubicBezTo>
                    <a:pt x="3" y="96"/>
                    <a:pt x="1" y="96"/>
                    <a:pt x="3" y="96"/>
                  </a:cubicBezTo>
                  <a:cubicBezTo>
                    <a:pt x="2" y="95"/>
                    <a:pt x="3" y="94"/>
                    <a:pt x="2" y="94"/>
                  </a:cubicBezTo>
                  <a:cubicBezTo>
                    <a:pt x="3" y="94"/>
                    <a:pt x="2" y="93"/>
                    <a:pt x="3" y="93"/>
                  </a:cubicBezTo>
                  <a:cubicBezTo>
                    <a:pt x="3" y="93"/>
                    <a:pt x="3" y="91"/>
                    <a:pt x="3" y="92"/>
                  </a:cubicBezTo>
                  <a:cubicBezTo>
                    <a:pt x="4" y="92"/>
                    <a:pt x="2" y="91"/>
                    <a:pt x="3" y="91"/>
                  </a:cubicBezTo>
                  <a:cubicBezTo>
                    <a:pt x="0" y="89"/>
                    <a:pt x="1" y="86"/>
                    <a:pt x="2" y="83"/>
                  </a:cubicBezTo>
                  <a:cubicBezTo>
                    <a:pt x="1" y="84"/>
                    <a:pt x="2" y="82"/>
                    <a:pt x="3" y="82"/>
                  </a:cubicBezTo>
                  <a:cubicBezTo>
                    <a:pt x="2" y="82"/>
                    <a:pt x="2" y="82"/>
                    <a:pt x="2" y="82"/>
                  </a:cubicBezTo>
                  <a:cubicBezTo>
                    <a:pt x="3" y="82"/>
                    <a:pt x="5" y="78"/>
                    <a:pt x="2" y="78"/>
                  </a:cubicBezTo>
                  <a:cubicBezTo>
                    <a:pt x="2" y="76"/>
                    <a:pt x="3" y="78"/>
                    <a:pt x="2" y="76"/>
                  </a:cubicBezTo>
                  <a:cubicBezTo>
                    <a:pt x="2" y="77"/>
                    <a:pt x="3" y="76"/>
                    <a:pt x="3" y="75"/>
                  </a:cubicBezTo>
                  <a:cubicBezTo>
                    <a:pt x="3" y="76"/>
                    <a:pt x="3" y="77"/>
                    <a:pt x="4" y="77"/>
                  </a:cubicBezTo>
                  <a:cubicBezTo>
                    <a:pt x="3" y="76"/>
                    <a:pt x="4" y="76"/>
                    <a:pt x="3" y="75"/>
                  </a:cubicBezTo>
                  <a:cubicBezTo>
                    <a:pt x="3" y="75"/>
                    <a:pt x="4" y="74"/>
                    <a:pt x="3" y="74"/>
                  </a:cubicBezTo>
                  <a:cubicBezTo>
                    <a:pt x="4" y="75"/>
                    <a:pt x="4" y="73"/>
                    <a:pt x="4" y="74"/>
                  </a:cubicBezTo>
                  <a:cubicBezTo>
                    <a:pt x="4" y="72"/>
                    <a:pt x="3" y="72"/>
                    <a:pt x="3" y="71"/>
                  </a:cubicBezTo>
                  <a:cubicBezTo>
                    <a:pt x="4" y="72"/>
                    <a:pt x="2" y="69"/>
                    <a:pt x="4" y="68"/>
                  </a:cubicBezTo>
                  <a:cubicBezTo>
                    <a:pt x="4" y="69"/>
                    <a:pt x="4" y="69"/>
                    <a:pt x="4" y="69"/>
                  </a:cubicBezTo>
                  <a:cubicBezTo>
                    <a:pt x="4" y="69"/>
                    <a:pt x="4" y="69"/>
                    <a:pt x="4" y="69"/>
                  </a:cubicBezTo>
                  <a:cubicBezTo>
                    <a:pt x="5" y="69"/>
                    <a:pt x="5" y="69"/>
                    <a:pt x="4" y="70"/>
                  </a:cubicBezTo>
                  <a:cubicBezTo>
                    <a:pt x="5" y="70"/>
                    <a:pt x="5" y="69"/>
                    <a:pt x="5" y="69"/>
                  </a:cubicBezTo>
                  <a:cubicBezTo>
                    <a:pt x="4" y="69"/>
                    <a:pt x="4" y="68"/>
                    <a:pt x="4" y="67"/>
                  </a:cubicBezTo>
                  <a:cubicBezTo>
                    <a:pt x="3" y="68"/>
                    <a:pt x="3" y="67"/>
                    <a:pt x="2" y="67"/>
                  </a:cubicBezTo>
                  <a:cubicBezTo>
                    <a:pt x="2" y="65"/>
                    <a:pt x="2" y="62"/>
                    <a:pt x="2" y="61"/>
                  </a:cubicBezTo>
                  <a:cubicBezTo>
                    <a:pt x="2" y="60"/>
                    <a:pt x="4" y="61"/>
                    <a:pt x="3" y="62"/>
                  </a:cubicBezTo>
                  <a:cubicBezTo>
                    <a:pt x="5" y="59"/>
                    <a:pt x="3" y="56"/>
                    <a:pt x="4" y="54"/>
                  </a:cubicBezTo>
                  <a:cubicBezTo>
                    <a:pt x="5" y="54"/>
                    <a:pt x="6" y="50"/>
                    <a:pt x="4" y="50"/>
                  </a:cubicBezTo>
                  <a:cubicBezTo>
                    <a:pt x="2" y="43"/>
                    <a:pt x="4" y="39"/>
                    <a:pt x="3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3"/>
                    <a:pt x="3" y="33"/>
                    <a:pt x="4" y="32"/>
                  </a:cubicBezTo>
                  <a:cubicBezTo>
                    <a:pt x="4" y="32"/>
                    <a:pt x="4" y="32"/>
                    <a:pt x="3" y="32"/>
                  </a:cubicBezTo>
                  <a:cubicBezTo>
                    <a:pt x="4" y="31"/>
                    <a:pt x="4" y="32"/>
                    <a:pt x="5" y="32"/>
                  </a:cubicBezTo>
                  <a:cubicBezTo>
                    <a:pt x="4" y="32"/>
                    <a:pt x="4" y="31"/>
                    <a:pt x="4" y="31"/>
                  </a:cubicBezTo>
                  <a:cubicBezTo>
                    <a:pt x="4" y="31"/>
                    <a:pt x="5" y="31"/>
                    <a:pt x="5" y="31"/>
                  </a:cubicBezTo>
                  <a:cubicBezTo>
                    <a:pt x="5" y="31"/>
                    <a:pt x="4" y="30"/>
                    <a:pt x="5" y="30"/>
                  </a:cubicBezTo>
                  <a:cubicBezTo>
                    <a:pt x="4" y="31"/>
                    <a:pt x="5" y="30"/>
                    <a:pt x="5" y="28"/>
                  </a:cubicBezTo>
                  <a:cubicBezTo>
                    <a:pt x="5" y="28"/>
                    <a:pt x="4" y="27"/>
                    <a:pt x="3" y="27"/>
                  </a:cubicBezTo>
                  <a:cubicBezTo>
                    <a:pt x="3" y="26"/>
                    <a:pt x="3" y="24"/>
                    <a:pt x="3" y="24"/>
                  </a:cubicBezTo>
                  <a:cubicBezTo>
                    <a:pt x="3" y="23"/>
                    <a:pt x="3" y="24"/>
                    <a:pt x="4" y="24"/>
                  </a:cubicBezTo>
                  <a:cubicBezTo>
                    <a:pt x="3" y="22"/>
                    <a:pt x="5" y="20"/>
                    <a:pt x="3" y="20"/>
                  </a:cubicBezTo>
                  <a:cubicBezTo>
                    <a:pt x="3" y="19"/>
                    <a:pt x="4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5" y="18"/>
                    <a:pt x="7" y="18"/>
                    <a:pt x="6" y="16"/>
                  </a:cubicBezTo>
                  <a:cubicBezTo>
                    <a:pt x="6" y="16"/>
                    <a:pt x="7" y="17"/>
                    <a:pt x="6" y="17"/>
                  </a:cubicBezTo>
                  <a:cubicBezTo>
                    <a:pt x="6" y="15"/>
                    <a:pt x="6" y="16"/>
                    <a:pt x="6" y="14"/>
                  </a:cubicBezTo>
                  <a:cubicBezTo>
                    <a:pt x="6" y="15"/>
                    <a:pt x="6" y="15"/>
                    <a:pt x="7" y="15"/>
                  </a:cubicBezTo>
                  <a:cubicBezTo>
                    <a:pt x="6" y="13"/>
                    <a:pt x="9" y="13"/>
                    <a:pt x="7" y="10"/>
                  </a:cubicBezTo>
                  <a:cubicBezTo>
                    <a:pt x="8" y="10"/>
                    <a:pt x="8" y="9"/>
                    <a:pt x="9" y="8"/>
                  </a:cubicBezTo>
                  <a:cubicBezTo>
                    <a:pt x="10" y="9"/>
                    <a:pt x="9" y="9"/>
                    <a:pt x="9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8"/>
                    <a:pt x="10" y="8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2" y="7"/>
                    <a:pt x="12" y="7"/>
                    <a:pt x="12" y="6"/>
                  </a:cubicBezTo>
                  <a:cubicBezTo>
                    <a:pt x="13" y="6"/>
                    <a:pt x="14" y="5"/>
                    <a:pt x="15" y="6"/>
                  </a:cubicBezTo>
                  <a:cubicBezTo>
                    <a:pt x="15" y="5"/>
                    <a:pt x="14" y="5"/>
                    <a:pt x="14" y="5"/>
                  </a:cubicBezTo>
                  <a:cubicBezTo>
                    <a:pt x="15" y="4"/>
                    <a:pt x="17" y="5"/>
                    <a:pt x="17" y="6"/>
                  </a:cubicBezTo>
                  <a:cubicBezTo>
                    <a:pt x="18" y="5"/>
                    <a:pt x="18" y="6"/>
                    <a:pt x="18" y="5"/>
                  </a:cubicBezTo>
                  <a:cubicBezTo>
                    <a:pt x="19" y="5"/>
                    <a:pt x="19" y="6"/>
                    <a:pt x="19" y="4"/>
                  </a:cubicBezTo>
                  <a:cubicBezTo>
                    <a:pt x="20" y="4"/>
                    <a:pt x="21" y="5"/>
                    <a:pt x="21" y="4"/>
                  </a:cubicBezTo>
                  <a:cubicBezTo>
                    <a:pt x="22" y="4"/>
                    <a:pt x="21" y="5"/>
                    <a:pt x="22" y="5"/>
                  </a:cubicBezTo>
                  <a:cubicBezTo>
                    <a:pt x="22" y="5"/>
                    <a:pt x="21" y="5"/>
                    <a:pt x="22" y="4"/>
                  </a:cubicBezTo>
                  <a:cubicBezTo>
                    <a:pt x="22" y="4"/>
                    <a:pt x="22" y="5"/>
                    <a:pt x="23" y="4"/>
                  </a:cubicBezTo>
                  <a:cubicBezTo>
                    <a:pt x="27" y="5"/>
                    <a:pt x="32" y="0"/>
                    <a:pt x="35" y="4"/>
                  </a:cubicBezTo>
                  <a:cubicBezTo>
                    <a:pt x="37" y="3"/>
                    <a:pt x="40" y="2"/>
                    <a:pt x="43" y="3"/>
                  </a:cubicBezTo>
                  <a:cubicBezTo>
                    <a:pt x="44" y="2"/>
                    <a:pt x="47" y="3"/>
                    <a:pt x="48" y="2"/>
                  </a:cubicBezTo>
                  <a:cubicBezTo>
                    <a:pt x="48" y="3"/>
                    <a:pt x="51" y="3"/>
                    <a:pt x="51" y="4"/>
                  </a:cubicBezTo>
                  <a:cubicBezTo>
                    <a:pt x="53" y="4"/>
                    <a:pt x="54" y="2"/>
                    <a:pt x="55" y="4"/>
                  </a:cubicBezTo>
                  <a:cubicBezTo>
                    <a:pt x="55" y="3"/>
                    <a:pt x="55" y="3"/>
                    <a:pt x="56" y="3"/>
                  </a:cubicBezTo>
                  <a:cubicBezTo>
                    <a:pt x="56" y="3"/>
                    <a:pt x="55" y="3"/>
                    <a:pt x="55" y="4"/>
                  </a:cubicBezTo>
                  <a:cubicBezTo>
                    <a:pt x="56" y="3"/>
                    <a:pt x="56" y="3"/>
                    <a:pt x="56" y="3"/>
                  </a:cubicBezTo>
                  <a:cubicBezTo>
                    <a:pt x="56" y="3"/>
                    <a:pt x="57" y="3"/>
                    <a:pt x="58" y="4"/>
                  </a:cubicBezTo>
                  <a:cubicBezTo>
                    <a:pt x="60" y="2"/>
                    <a:pt x="61" y="3"/>
                    <a:pt x="63" y="3"/>
                  </a:cubicBezTo>
                  <a:cubicBezTo>
                    <a:pt x="63" y="1"/>
                    <a:pt x="67" y="4"/>
                    <a:pt x="67" y="2"/>
                  </a:cubicBezTo>
                  <a:cubicBezTo>
                    <a:pt x="69" y="3"/>
                    <a:pt x="71" y="2"/>
                    <a:pt x="73" y="2"/>
                  </a:cubicBezTo>
                  <a:cubicBezTo>
                    <a:pt x="73" y="2"/>
                    <a:pt x="73" y="2"/>
                    <a:pt x="73" y="2"/>
                  </a:cubicBezTo>
                  <a:cubicBezTo>
                    <a:pt x="75" y="3"/>
                    <a:pt x="78" y="1"/>
                    <a:pt x="80" y="2"/>
                  </a:cubicBezTo>
                  <a:cubicBezTo>
                    <a:pt x="81" y="0"/>
                    <a:pt x="90" y="1"/>
                    <a:pt x="93" y="1"/>
                  </a:cubicBezTo>
                  <a:cubicBezTo>
                    <a:pt x="94" y="0"/>
                    <a:pt x="99" y="2"/>
                    <a:pt x="100" y="1"/>
                  </a:cubicBezTo>
                  <a:cubicBezTo>
                    <a:pt x="101" y="2"/>
                    <a:pt x="102" y="2"/>
                    <a:pt x="102" y="3"/>
                  </a:cubicBezTo>
                  <a:cubicBezTo>
                    <a:pt x="103" y="3"/>
                    <a:pt x="103" y="4"/>
                    <a:pt x="104" y="2"/>
                  </a:cubicBezTo>
                  <a:cubicBezTo>
                    <a:pt x="104" y="2"/>
                    <a:pt x="104" y="3"/>
                    <a:pt x="104" y="3"/>
                  </a:cubicBezTo>
                  <a:cubicBezTo>
                    <a:pt x="105" y="1"/>
                    <a:pt x="107" y="1"/>
                    <a:pt x="109" y="1"/>
                  </a:cubicBezTo>
                  <a:cubicBezTo>
                    <a:pt x="109" y="1"/>
                    <a:pt x="108" y="1"/>
                    <a:pt x="109" y="2"/>
                  </a:cubicBezTo>
                  <a:cubicBezTo>
                    <a:pt x="110" y="2"/>
                    <a:pt x="109" y="1"/>
                    <a:pt x="109" y="1"/>
                  </a:cubicBezTo>
                  <a:cubicBezTo>
                    <a:pt x="110" y="1"/>
                    <a:pt x="110" y="2"/>
                    <a:pt x="110" y="1"/>
                  </a:cubicBezTo>
                  <a:cubicBezTo>
                    <a:pt x="113" y="4"/>
                    <a:pt x="115" y="1"/>
                    <a:pt x="119" y="1"/>
                  </a:cubicBezTo>
                  <a:cubicBezTo>
                    <a:pt x="119" y="1"/>
                    <a:pt x="122" y="1"/>
                    <a:pt x="124" y="1"/>
                  </a:cubicBezTo>
                  <a:cubicBezTo>
                    <a:pt x="123" y="0"/>
                    <a:pt x="124" y="1"/>
                    <a:pt x="124" y="1"/>
                  </a:cubicBezTo>
                  <a:close/>
                  <a:moveTo>
                    <a:pt x="209" y="103"/>
                  </a:moveTo>
                  <a:cubicBezTo>
                    <a:pt x="208" y="104"/>
                    <a:pt x="210" y="102"/>
                    <a:pt x="209" y="103"/>
                  </a:cubicBezTo>
                  <a:close/>
                  <a:moveTo>
                    <a:pt x="202" y="148"/>
                  </a:moveTo>
                  <a:cubicBezTo>
                    <a:pt x="201" y="149"/>
                    <a:pt x="203" y="147"/>
                    <a:pt x="202" y="148"/>
                  </a:cubicBezTo>
                  <a:close/>
                  <a:moveTo>
                    <a:pt x="200" y="149"/>
                  </a:moveTo>
                  <a:cubicBezTo>
                    <a:pt x="199" y="150"/>
                    <a:pt x="201" y="148"/>
                    <a:pt x="200" y="149"/>
                  </a:cubicBezTo>
                  <a:close/>
                  <a:moveTo>
                    <a:pt x="1" y="101"/>
                  </a:moveTo>
                  <a:cubicBezTo>
                    <a:pt x="1" y="101"/>
                    <a:pt x="1" y="101"/>
                    <a:pt x="1" y="101"/>
                  </a:cubicBezTo>
                  <a:close/>
                  <a:moveTo>
                    <a:pt x="3" y="75"/>
                  </a:moveTo>
                  <a:cubicBezTo>
                    <a:pt x="3" y="75"/>
                    <a:pt x="3" y="75"/>
                    <a:pt x="3" y="75"/>
                  </a:cubicBezTo>
                  <a:close/>
                  <a:moveTo>
                    <a:pt x="9" y="10"/>
                  </a:moveTo>
                  <a:cubicBezTo>
                    <a:pt x="9" y="9"/>
                    <a:pt x="8" y="10"/>
                    <a:pt x="9" y="10"/>
                  </a:cubicBezTo>
                  <a:close/>
                  <a:moveTo>
                    <a:pt x="89" y="2"/>
                  </a:moveTo>
                  <a:cubicBezTo>
                    <a:pt x="89" y="2"/>
                    <a:pt x="89" y="2"/>
                    <a:pt x="89" y="2"/>
                  </a:cubicBezTo>
                  <a:close/>
                  <a:moveTo>
                    <a:pt x="106" y="2"/>
                  </a:moveTo>
                  <a:cubicBezTo>
                    <a:pt x="106" y="3"/>
                    <a:pt x="106" y="2"/>
                    <a:pt x="106" y="2"/>
                  </a:cubicBezTo>
                  <a:close/>
                  <a:moveTo>
                    <a:pt x="155" y="2"/>
                  </a:moveTo>
                  <a:cubicBezTo>
                    <a:pt x="156" y="3"/>
                    <a:pt x="155" y="2"/>
                    <a:pt x="155" y="2"/>
                  </a:cubicBezTo>
                  <a:close/>
                  <a:moveTo>
                    <a:pt x="182" y="2"/>
                  </a:moveTo>
                  <a:cubicBezTo>
                    <a:pt x="182" y="3"/>
                    <a:pt x="181" y="2"/>
                    <a:pt x="182" y="2"/>
                  </a:cubicBezTo>
                  <a:close/>
                  <a:moveTo>
                    <a:pt x="182" y="2"/>
                  </a:moveTo>
                  <a:cubicBezTo>
                    <a:pt x="182" y="3"/>
                    <a:pt x="182" y="2"/>
                    <a:pt x="182" y="2"/>
                  </a:cubicBezTo>
                  <a:close/>
                  <a:moveTo>
                    <a:pt x="45" y="3"/>
                  </a:moveTo>
                  <a:cubicBezTo>
                    <a:pt x="45" y="3"/>
                    <a:pt x="45" y="3"/>
                    <a:pt x="45" y="3"/>
                  </a:cubicBezTo>
                  <a:close/>
                  <a:moveTo>
                    <a:pt x="105" y="3"/>
                  </a:moveTo>
                  <a:cubicBezTo>
                    <a:pt x="106" y="3"/>
                    <a:pt x="105" y="3"/>
                    <a:pt x="105" y="3"/>
                  </a:cubicBezTo>
                  <a:close/>
                  <a:moveTo>
                    <a:pt x="67" y="3"/>
                  </a:moveTo>
                  <a:cubicBezTo>
                    <a:pt x="67" y="3"/>
                    <a:pt x="67" y="3"/>
                    <a:pt x="67" y="3"/>
                  </a:cubicBezTo>
                  <a:close/>
                  <a:moveTo>
                    <a:pt x="69" y="3"/>
                  </a:moveTo>
                  <a:cubicBezTo>
                    <a:pt x="69" y="3"/>
                    <a:pt x="69" y="3"/>
                    <a:pt x="69" y="3"/>
                  </a:cubicBezTo>
                  <a:close/>
                  <a:moveTo>
                    <a:pt x="174" y="3"/>
                  </a:moveTo>
                  <a:cubicBezTo>
                    <a:pt x="174" y="3"/>
                    <a:pt x="174" y="3"/>
                    <a:pt x="174" y="3"/>
                  </a:cubicBezTo>
                  <a:close/>
                  <a:moveTo>
                    <a:pt x="43" y="4"/>
                  </a:moveTo>
                  <a:cubicBezTo>
                    <a:pt x="44" y="4"/>
                    <a:pt x="43" y="3"/>
                    <a:pt x="43" y="4"/>
                  </a:cubicBezTo>
                  <a:close/>
                  <a:moveTo>
                    <a:pt x="44" y="4"/>
                  </a:moveTo>
                  <a:cubicBezTo>
                    <a:pt x="44" y="4"/>
                    <a:pt x="44" y="3"/>
                    <a:pt x="44" y="4"/>
                  </a:cubicBezTo>
                  <a:close/>
                  <a:moveTo>
                    <a:pt x="60" y="4"/>
                  </a:moveTo>
                  <a:cubicBezTo>
                    <a:pt x="60" y="4"/>
                    <a:pt x="60" y="3"/>
                    <a:pt x="60" y="4"/>
                  </a:cubicBezTo>
                  <a:close/>
                  <a:moveTo>
                    <a:pt x="104" y="4"/>
                  </a:moveTo>
                  <a:cubicBezTo>
                    <a:pt x="104" y="4"/>
                    <a:pt x="104" y="3"/>
                    <a:pt x="104" y="4"/>
                  </a:cubicBezTo>
                  <a:close/>
                  <a:moveTo>
                    <a:pt x="103" y="4"/>
                  </a:moveTo>
                  <a:cubicBezTo>
                    <a:pt x="103" y="4"/>
                    <a:pt x="103" y="4"/>
                    <a:pt x="103" y="4"/>
                  </a:cubicBezTo>
                  <a:close/>
                  <a:moveTo>
                    <a:pt x="27" y="4"/>
                  </a:moveTo>
                  <a:cubicBezTo>
                    <a:pt x="27" y="4"/>
                    <a:pt x="27" y="4"/>
                    <a:pt x="27" y="4"/>
                  </a:cubicBezTo>
                  <a:close/>
                  <a:moveTo>
                    <a:pt x="59" y="4"/>
                  </a:moveTo>
                  <a:cubicBezTo>
                    <a:pt x="59" y="4"/>
                    <a:pt x="59" y="4"/>
                    <a:pt x="59" y="4"/>
                  </a:cubicBezTo>
                  <a:close/>
                  <a:moveTo>
                    <a:pt x="104" y="4"/>
                  </a:moveTo>
                  <a:cubicBezTo>
                    <a:pt x="104" y="4"/>
                    <a:pt x="104" y="4"/>
                    <a:pt x="104" y="4"/>
                  </a:cubicBezTo>
                  <a:close/>
                  <a:moveTo>
                    <a:pt x="169" y="4"/>
                  </a:moveTo>
                  <a:cubicBezTo>
                    <a:pt x="170" y="4"/>
                    <a:pt x="169" y="4"/>
                    <a:pt x="169" y="4"/>
                  </a:cubicBezTo>
                  <a:close/>
                  <a:moveTo>
                    <a:pt x="26" y="4"/>
                  </a:moveTo>
                  <a:cubicBezTo>
                    <a:pt x="26" y="5"/>
                    <a:pt x="26" y="4"/>
                    <a:pt x="26" y="4"/>
                  </a:cubicBezTo>
                  <a:close/>
                  <a:moveTo>
                    <a:pt x="50" y="4"/>
                  </a:moveTo>
                  <a:cubicBezTo>
                    <a:pt x="51" y="5"/>
                    <a:pt x="50" y="4"/>
                    <a:pt x="50" y="4"/>
                  </a:cubicBezTo>
                  <a:close/>
                  <a:moveTo>
                    <a:pt x="190" y="5"/>
                  </a:moveTo>
                  <a:cubicBezTo>
                    <a:pt x="190" y="5"/>
                    <a:pt x="190" y="5"/>
                    <a:pt x="190" y="5"/>
                  </a:cubicBezTo>
                  <a:close/>
                  <a:moveTo>
                    <a:pt x="20" y="5"/>
                  </a:moveTo>
                  <a:cubicBezTo>
                    <a:pt x="20" y="5"/>
                    <a:pt x="20" y="5"/>
                    <a:pt x="20" y="5"/>
                  </a:cubicBezTo>
                  <a:close/>
                  <a:moveTo>
                    <a:pt x="19" y="6"/>
                  </a:moveTo>
                  <a:cubicBezTo>
                    <a:pt x="19" y="6"/>
                    <a:pt x="19" y="6"/>
                    <a:pt x="19" y="6"/>
                  </a:cubicBezTo>
                  <a:close/>
                  <a:moveTo>
                    <a:pt x="13" y="7"/>
                  </a:moveTo>
                  <a:cubicBezTo>
                    <a:pt x="13" y="7"/>
                    <a:pt x="12" y="6"/>
                    <a:pt x="13" y="7"/>
                  </a:cubicBezTo>
                  <a:close/>
                  <a:moveTo>
                    <a:pt x="11" y="8"/>
                  </a:moveTo>
                  <a:cubicBezTo>
                    <a:pt x="11" y="8"/>
                    <a:pt x="11" y="8"/>
                    <a:pt x="11" y="8"/>
                  </a:cubicBezTo>
                  <a:close/>
                  <a:moveTo>
                    <a:pt x="198" y="8"/>
                  </a:moveTo>
                  <a:cubicBezTo>
                    <a:pt x="199" y="8"/>
                    <a:pt x="198" y="8"/>
                    <a:pt x="198" y="8"/>
                  </a:cubicBezTo>
                  <a:close/>
                  <a:moveTo>
                    <a:pt x="10" y="9"/>
                  </a:moveTo>
                  <a:cubicBezTo>
                    <a:pt x="10" y="9"/>
                    <a:pt x="10" y="9"/>
                    <a:pt x="10" y="9"/>
                  </a:cubicBezTo>
                  <a:close/>
                  <a:moveTo>
                    <a:pt x="9" y="9"/>
                  </a:moveTo>
                  <a:cubicBezTo>
                    <a:pt x="9" y="10"/>
                    <a:pt x="9" y="9"/>
                    <a:pt x="9" y="9"/>
                  </a:cubicBezTo>
                  <a:close/>
                  <a:moveTo>
                    <a:pt x="202" y="9"/>
                  </a:moveTo>
                  <a:cubicBezTo>
                    <a:pt x="203" y="10"/>
                    <a:pt x="202" y="9"/>
                    <a:pt x="202" y="9"/>
                  </a:cubicBezTo>
                  <a:close/>
                  <a:moveTo>
                    <a:pt x="7" y="11"/>
                  </a:moveTo>
                  <a:cubicBezTo>
                    <a:pt x="8" y="11"/>
                    <a:pt x="7" y="10"/>
                    <a:pt x="7" y="11"/>
                  </a:cubicBezTo>
                  <a:close/>
                  <a:moveTo>
                    <a:pt x="8" y="11"/>
                  </a:moveTo>
                  <a:cubicBezTo>
                    <a:pt x="8" y="11"/>
                    <a:pt x="8" y="10"/>
                    <a:pt x="8" y="11"/>
                  </a:cubicBezTo>
                  <a:close/>
                  <a:moveTo>
                    <a:pt x="8" y="11"/>
                  </a:moveTo>
                  <a:cubicBezTo>
                    <a:pt x="8" y="11"/>
                    <a:pt x="8" y="11"/>
                    <a:pt x="8" y="11"/>
                  </a:cubicBezTo>
                  <a:close/>
                  <a:moveTo>
                    <a:pt x="6" y="16"/>
                  </a:moveTo>
                  <a:cubicBezTo>
                    <a:pt x="6" y="16"/>
                    <a:pt x="6" y="16"/>
                    <a:pt x="6" y="16"/>
                  </a:cubicBezTo>
                  <a:close/>
                  <a:moveTo>
                    <a:pt x="6" y="18"/>
                  </a:moveTo>
                  <a:cubicBezTo>
                    <a:pt x="7" y="18"/>
                    <a:pt x="6" y="18"/>
                    <a:pt x="6" y="18"/>
                  </a:cubicBezTo>
                  <a:close/>
                  <a:moveTo>
                    <a:pt x="6" y="18"/>
                  </a:moveTo>
                  <a:cubicBezTo>
                    <a:pt x="6" y="19"/>
                    <a:pt x="6" y="17"/>
                    <a:pt x="6" y="18"/>
                  </a:cubicBezTo>
                  <a:close/>
                  <a:moveTo>
                    <a:pt x="5" y="19"/>
                  </a:moveTo>
                  <a:cubicBezTo>
                    <a:pt x="5" y="19"/>
                    <a:pt x="5" y="19"/>
                    <a:pt x="5" y="19"/>
                  </a:cubicBezTo>
                  <a:close/>
                  <a:moveTo>
                    <a:pt x="5" y="20"/>
                  </a:moveTo>
                  <a:cubicBezTo>
                    <a:pt x="5" y="20"/>
                    <a:pt x="5" y="20"/>
                    <a:pt x="5" y="20"/>
                  </a:cubicBezTo>
                  <a:close/>
                  <a:moveTo>
                    <a:pt x="4" y="22"/>
                  </a:moveTo>
                  <a:cubicBezTo>
                    <a:pt x="5" y="22"/>
                    <a:pt x="4" y="22"/>
                    <a:pt x="4" y="22"/>
                  </a:cubicBezTo>
                  <a:close/>
                  <a:moveTo>
                    <a:pt x="206" y="22"/>
                  </a:moveTo>
                  <a:cubicBezTo>
                    <a:pt x="207" y="22"/>
                    <a:pt x="206" y="22"/>
                    <a:pt x="206" y="22"/>
                  </a:cubicBezTo>
                  <a:close/>
                  <a:moveTo>
                    <a:pt x="4" y="23"/>
                  </a:moveTo>
                  <a:cubicBezTo>
                    <a:pt x="4" y="23"/>
                    <a:pt x="4" y="23"/>
                    <a:pt x="4" y="23"/>
                  </a:cubicBezTo>
                  <a:close/>
                  <a:moveTo>
                    <a:pt x="5" y="30"/>
                  </a:moveTo>
                  <a:cubicBezTo>
                    <a:pt x="5" y="30"/>
                    <a:pt x="5" y="30"/>
                    <a:pt x="5" y="30"/>
                  </a:cubicBezTo>
                  <a:close/>
                  <a:moveTo>
                    <a:pt x="4" y="33"/>
                  </a:moveTo>
                  <a:cubicBezTo>
                    <a:pt x="5" y="33"/>
                    <a:pt x="4" y="33"/>
                    <a:pt x="4" y="33"/>
                  </a:cubicBezTo>
                  <a:close/>
                  <a:moveTo>
                    <a:pt x="4" y="34"/>
                  </a:moveTo>
                  <a:cubicBezTo>
                    <a:pt x="5" y="34"/>
                    <a:pt x="4" y="33"/>
                    <a:pt x="4" y="34"/>
                  </a:cubicBezTo>
                  <a:close/>
                  <a:moveTo>
                    <a:pt x="206" y="39"/>
                  </a:moveTo>
                  <a:cubicBezTo>
                    <a:pt x="206" y="39"/>
                    <a:pt x="206" y="39"/>
                    <a:pt x="206" y="39"/>
                  </a:cubicBezTo>
                  <a:close/>
                  <a:moveTo>
                    <a:pt x="206" y="40"/>
                  </a:moveTo>
                  <a:cubicBezTo>
                    <a:pt x="207" y="40"/>
                    <a:pt x="206" y="40"/>
                    <a:pt x="206" y="40"/>
                  </a:cubicBezTo>
                  <a:close/>
                  <a:moveTo>
                    <a:pt x="206" y="48"/>
                  </a:moveTo>
                  <a:cubicBezTo>
                    <a:pt x="207" y="48"/>
                    <a:pt x="206" y="47"/>
                    <a:pt x="206" y="48"/>
                  </a:cubicBezTo>
                  <a:close/>
                  <a:moveTo>
                    <a:pt x="205" y="49"/>
                  </a:moveTo>
                  <a:cubicBezTo>
                    <a:pt x="206" y="49"/>
                    <a:pt x="205" y="49"/>
                    <a:pt x="205" y="49"/>
                  </a:cubicBezTo>
                  <a:close/>
                  <a:moveTo>
                    <a:pt x="4" y="55"/>
                  </a:moveTo>
                  <a:cubicBezTo>
                    <a:pt x="5" y="55"/>
                    <a:pt x="4" y="55"/>
                    <a:pt x="4" y="55"/>
                  </a:cubicBezTo>
                  <a:close/>
                  <a:moveTo>
                    <a:pt x="4" y="56"/>
                  </a:moveTo>
                  <a:cubicBezTo>
                    <a:pt x="5" y="56"/>
                    <a:pt x="4" y="56"/>
                    <a:pt x="4" y="56"/>
                  </a:cubicBezTo>
                  <a:close/>
                  <a:moveTo>
                    <a:pt x="208" y="67"/>
                  </a:moveTo>
                  <a:cubicBezTo>
                    <a:pt x="208" y="67"/>
                    <a:pt x="208" y="67"/>
                    <a:pt x="208" y="67"/>
                  </a:cubicBezTo>
                  <a:close/>
                  <a:moveTo>
                    <a:pt x="4" y="70"/>
                  </a:moveTo>
                  <a:cubicBezTo>
                    <a:pt x="5" y="73"/>
                    <a:pt x="3" y="69"/>
                    <a:pt x="4" y="70"/>
                  </a:cubicBezTo>
                  <a:close/>
                  <a:moveTo>
                    <a:pt x="4" y="71"/>
                  </a:moveTo>
                  <a:cubicBezTo>
                    <a:pt x="5" y="71"/>
                    <a:pt x="4" y="70"/>
                    <a:pt x="4" y="71"/>
                  </a:cubicBezTo>
                  <a:close/>
                  <a:moveTo>
                    <a:pt x="4" y="75"/>
                  </a:moveTo>
                  <a:cubicBezTo>
                    <a:pt x="5" y="75"/>
                    <a:pt x="4" y="74"/>
                    <a:pt x="4" y="75"/>
                  </a:cubicBezTo>
                  <a:close/>
                  <a:moveTo>
                    <a:pt x="4" y="75"/>
                  </a:moveTo>
                  <a:cubicBezTo>
                    <a:pt x="4" y="75"/>
                    <a:pt x="4" y="75"/>
                    <a:pt x="4" y="75"/>
                  </a:cubicBezTo>
                  <a:close/>
                  <a:moveTo>
                    <a:pt x="4" y="75"/>
                  </a:moveTo>
                  <a:cubicBezTo>
                    <a:pt x="5" y="75"/>
                    <a:pt x="4" y="75"/>
                    <a:pt x="4" y="75"/>
                  </a:cubicBezTo>
                  <a:close/>
                  <a:moveTo>
                    <a:pt x="4" y="76"/>
                  </a:moveTo>
                  <a:cubicBezTo>
                    <a:pt x="4" y="76"/>
                    <a:pt x="4" y="76"/>
                    <a:pt x="4" y="76"/>
                  </a:cubicBezTo>
                  <a:close/>
                  <a:moveTo>
                    <a:pt x="3" y="77"/>
                  </a:moveTo>
                  <a:cubicBezTo>
                    <a:pt x="3" y="77"/>
                    <a:pt x="3" y="77"/>
                    <a:pt x="3" y="77"/>
                  </a:cubicBezTo>
                  <a:close/>
                  <a:moveTo>
                    <a:pt x="209" y="83"/>
                  </a:moveTo>
                  <a:cubicBezTo>
                    <a:pt x="209" y="83"/>
                    <a:pt x="208" y="83"/>
                    <a:pt x="209" y="83"/>
                  </a:cubicBezTo>
                  <a:close/>
                  <a:moveTo>
                    <a:pt x="207" y="92"/>
                  </a:moveTo>
                  <a:cubicBezTo>
                    <a:pt x="207" y="93"/>
                    <a:pt x="207" y="92"/>
                    <a:pt x="207" y="92"/>
                  </a:cubicBezTo>
                  <a:close/>
                  <a:moveTo>
                    <a:pt x="4" y="93"/>
                  </a:moveTo>
                  <a:cubicBezTo>
                    <a:pt x="4" y="93"/>
                    <a:pt x="4" y="93"/>
                    <a:pt x="4" y="93"/>
                  </a:cubicBezTo>
                  <a:close/>
                  <a:moveTo>
                    <a:pt x="3" y="94"/>
                  </a:moveTo>
                  <a:cubicBezTo>
                    <a:pt x="4" y="94"/>
                    <a:pt x="3" y="94"/>
                    <a:pt x="3" y="94"/>
                  </a:cubicBezTo>
                  <a:close/>
                  <a:moveTo>
                    <a:pt x="3" y="94"/>
                  </a:moveTo>
                  <a:cubicBezTo>
                    <a:pt x="3" y="94"/>
                    <a:pt x="3" y="94"/>
                    <a:pt x="3" y="94"/>
                  </a:cubicBezTo>
                  <a:close/>
                  <a:moveTo>
                    <a:pt x="3" y="95"/>
                  </a:moveTo>
                  <a:cubicBezTo>
                    <a:pt x="3" y="95"/>
                    <a:pt x="3" y="95"/>
                    <a:pt x="3" y="95"/>
                  </a:cubicBezTo>
                  <a:close/>
                  <a:moveTo>
                    <a:pt x="3" y="95"/>
                  </a:moveTo>
                  <a:cubicBezTo>
                    <a:pt x="3" y="95"/>
                    <a:pt x="2" y="95"/>
                    <a:pt x="3" y="95"/>
                  </a:cubicBezTo>
                  <a:close/>
                  <a:moveTo>
                    <a:pt x="209" y="97"/>
                  </a:moveTo>
                  <a:cubicBezTo>
                    <a:pt x="209" y="98"/>
                    <a:pt x="208" y="97"/>
                    <a:pt x="209" y="97"/>
                  </a:cubicBezTo>
                  <a:close/>
                  <a:moveTo>
                    <a:pt x="2" y="99"/>
                  </a:moveTo>
                  <a:cubicBezTo>
                    <a:pt x="2" y="100"/>
                    <a:pt x="2" y="98"/>
                    <a:pt x="2" y="99"/>
                  </a:cubicBezTo>
                  <a:close/>
                  <a:moveTo>
                    <a:pt x="2" y="103"/>
                  </a:moveTo>
                  <a:cubicBezTo>
                    <a:pt x="2" y="103"/>
                    <a:pt x="2" y="103"/>
                    <a:pt x="2" y="103"/>
                  </a:cubicBezTo>
                  <a:close/>
                  <a:moveTo>
                    <a:pt x="207" y="105"/>
                  </a:moveTo>
                  <a:cubicBezTo>
                    <a:pt x="207" y="105"/>
                    <a:pt x="207" y="104"/>
                    <a:pt x="207" y="105"/>
                  </a:cubicBezTo>
                  <a:close/>
                  <a:moveTo>
                    <a:pt x="2" y="106"/>
                  </a:moveTo>
                  <a:cubicBezTo>
                    <a:pt x="2" y="106"/>
                    <a:pt x="1" y="106"/>
                    <a:pt x="2" y="106"/>
                  </a:cubicBezTo>
                  <a:close/>
                  <a:moveTo>
                    <a:pt x="4" y="112"/>
                  </a:moveTo>
                  <a:cubicBezTo>
                    <a:pt x="4" y="113"/>
                    <a:pt x="4" y="112"/>
                    <a:pt x="4" y="112"/>
                  </a:cubicBezTo>
                  <a:close/>
                  <a:moveTo>
                    <a:pt x="5" y="112"/>
                  </a:moveTo>
                  <a:cubicBezTo>
                    <a:pt x="5" y="113"/>
                    <a:pt x="5" y="112"/>
                    <a:pt x="5" y="112"/>
                  </a:cubicBezTo>
                  <a:close/>
                  <a:moveTo>
                    <a:pt x="3" y="113"/>
                  </a:moveTo>
                  <a:cubicBezTo>
                    <a:pt x="4" y="113"/>
                    <a:pt x="3" y="113"/>
                    <a:pt x="3" y="113"/>
                  </a:cubicBezTo>
                  <a:close/>
                  <a:moveTo>
                    <a:pt x="4" y="113"/>
                  </a:moveTo>
                  <a:cubicBezTo>
                    <a:pt x="4" y="113"/>
                    <a:pt x="4" y="113"/>
                    <a:pt x="4" y="113"/>
                  </a:cubicBezTo>
                  <a:close/>
                  <a:moveTo>
                    <a:pt x="3" y="114"/>
                  </a:moveTo>
                  <a:cubicBezTo>
                    <a:pt x="4" y="114"/>
                    <a:pt x="3" y="114"/>
                    <a:pt x="3" y="114"/>
                  </a:cubicBezTo>
                  <a:close/>
                  <a:moveTo>
                    <a:pt x="207" y="115"/>
                  </a:moveTo>
                  <a:cubicBezTo>
                    <a:pt x="208" y="116"/>
                    <a:pt x="208" y="114"/>
                    <a:pt x="207" y="115"/>
                  </a:cubicBezTo>
                  <a:close/>
                  <a:moveTo>
                    <a:pt x="3" y="115"/>
                  </a:moveTo>
                  <a:cubicBezTo>
                    <a:pt x="3" y="115"/>
                    <a:pt x="3" y="115"/>
                    <a:pt x="3" y="115"/>
                  </a:cubicBezTo>
                  <a:close/>
                  <a:moveTo>
                    <a:pt x="3" y="116"/>
                  </a:moveTo>
                  <a:cubicBezTo>
                    <a:pt x="3" y="116"/>
                    <a:pt x="2" y="116"/>
                    <a:pt x="3" y="116"/>
                  </a:cubicBezTo>
                  <a:close/>
                  <a:moveTo>
                    <a:pt x="3" y="117"/>
                  </a:moveTo>
                  <a:cubicBezTo>
                    <a:pt x="3" y="117"/>
                    <a:pt x="2" y="117"/>
                    <a:pt x="3" y="117"/>
                  </a:cubicBezTo>
                  <a:close/>
                  <a:moveTo>
                    <a:pt x="2" y="118"/>
                  </a:moveTo>
                  <a:cubicBezTo>
                    <a:pt x="2" y="118"/>
                    <a:pt x="2" y="118"/>
                    <a:pt x="2" y="118"/>
                  </a:cubicBezTo>
                  <a:close/>
                  <a:moveTo>
                    <a:pt x="208" y="130"/>
                  </a:moveTo>
                  <a:cubicBezTo>
                    <a:pt x="208" y="130"/>
                    <a:pt x="208" y="130"/>
                    <a:pt x="208" y="130"/>
                  </a:cubicBezTo>
                  <a:close/>
                  <a:moveTo>
                    <a:pt x="208" y="131"/>
                  </a:moveTo>
                  <a:cubicBezTo>
                    <a:pt x="208" y="131"/>
                    <a:pt x="208" y="131"/>
                    <a:pt x="208" y="131"/>
                  </a:cubicBezTo>
                  <a:close/>
                  <a:moveTo>
                    <a:pt x="4" y="132"/>
                  </a:moveTo>
                  <a:cubicBezTo>
                    <a:pt x="4" y="132"/>
                    <a:pt x="4" y="132"/>
                    <a:pt x="4" y="132"/>
                  </a:cubicBezTo>
                  <a:close/>
                  <a:moveTo>
                    <a:pt x="4" y="133"/>
                  </a:moveTo>
                  <a:cubicBezTo>
                    <a:pt x="4" y="133"/>
                    <a:pt x="4" y="132"/>
                    <a:pt x="4" y="133"/>
                  </a:cubicBezTo>
                  <a:close/>
                  <a:moveTo>
                    <a:pt x="209" y="134"/>
                  </a:moveTo>
                  <a:cubicBezTo>
                    <a:pt x="209" y="134"/>
                    <a:pt x="209" y="134"/>
                    <a:pt x="209" y="134"/>
                  </a:cubicBezTo>
                  <a:close/>
                  <a:moveTo>
                    <a:pt x="3" y="135"/>
                  </a:moveTo>
                  <a:cubicBezTo>
                    <a:pt x="3" y="135"/>
                    <a:pt x="3" y="135"/>
                    <a:pt x="3" y="135"/>
                  </a:cubicBezTo>
                  <a:close/>
                  <a:moveTo>
                    <a:pt x="203" y="148"/>
                  </a:moveTo>
                  <a:cubicBezTo>
                    <a:pt x="203" y="148"/>
                    <a:pt x="203" y="148"/>
                    <a:pt x="203" y="148"/>
                  </a:cubicBezTo>
                  <a:close/>
                  <a:moveTo>
                    <a:pt x="149" y="165"/>
                  </a:moveTo>
                  <a:cubicBezTo>
                    <a:pt x="150" y="166"/>
                    <a:pt x="150" y="164"/>
                    <a:pt x="149" y="165"/>
                  </a:cubicBezTo>
                  <a:close/>
                  <a:moveTo>
                    <a:pt x="136" y="173"/>
                  </a:moveTo>
                  <a:cubicBezTo>
                    <a:pt x="137" y="174"/>
                    <a:pt x="135" y="172"/>
                    <a:pt x="136" y="173"/>
                  </a:cubicBezTo>
                  <a:close/>
                  <a:moveTo>
                    <a:pt x="137" y="173"/>
                  </a:moveTo>
                  <a:cubicBezTo>
                    <a:pt x="137" y="174"/>
                    <a:pt x="137" y="173"/>
                    <a:pt x="137" y="173"/>
                  </a:cubicBezTo>
                  <a:close/>
                  <a:moveTo>
                    <a:pt x="137" y="174"/>
                  </a:moveTo>
                  <a:cubicBezTo>
                    <a:pt x="137" y="174"/>
                    <a:pt x="136" y="174"/>
                    <a:pt x="137" y="174"/>
                  </a:cubicBezTo>
                  <a:close/>
                  <a:moveTo>
                    <a:pt x="159" y="188"/>
                  </a:moveTo>
                  <a:cubicBezTo>
                    <a:pt x="159" y="189"/>
                    <a:pt x="159" y="188"/>
                    <a:pt x="159" y="18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600" dirty="0">
                <a:solidFill>
                  <a:schemeClr val="bg1"/>
                </a:solidFill>
              </a:endParaRPr>
            </a:p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heel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8BF6A587-9E13-D3BC-1E64-E7D7C7456180}"/>
                </a:ext>
              </a:extLst>
            </p:cNvPr>
            <p:cNvSpPr/>
            <p:nvPr/>
          </p:nvSpPr>
          <p:spPr>
            <a:xfrm>
              <a:off x="4988404" y="1300170"/>
              <a:ext cx="2478699" cy="357032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/>
              <a:endParaRPr lang="en-US" sz="1300" dirty="0">
                <a:solidFill>
                  <a:schemeClr val="bg1"/>
                </a:solidFill>
              </a:endParaRPr>
            </a:p>
          </p:txBody>
        </p:sp>
      </p:grpSp>
      <p:sp>
        <p:nvSpPr>
          <p:cNvPr id="47" name="Freeform 91">
            <a:extLst>
              <a:ext uri="{FF2B5EF4-FFF2-40B4-BE49-F238E27FC236}">
                <a16:creationId xmlns:a16="http://schemas.microsoft.com/office/drawing/2014/main" id="{08903EB7-44AF-3F2E-DE28-AC9B54CE259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441551" y="4722810"/>
            <a:ext cx="1774809" cy="962321"/>
          </a:xfrm>
          <a:custGeom>
            <a:avLst/>
            <a:gdLst>
              <a:gd name="T0" fmla="*/ 171 w 211"/>
              <a:gd name="T1" fmla="*/ 3 h 190"/>
              <a:gd name="T2" fmla="*/ 194 w 211"/>
              <a:gd name="T3" fmla="*/ 6 h 190"/>
              <a:gd name="T4" fmla="*/ 207 w 211"/>
              <a:gd name="T5" fmla="*/ 22 h 190"/>
              <a:gd name="T6" fmla="*/ 208 w 211"/>
              <a:gd name="T7" fmla="*/ 42 h 190"/>
              <a:gd name="T8" fmla="*/ 209 w 211"/>
              <a:gd name="T9" fmla="*/ 65 h 190"/>
              <a:gd name="T10" fmla="*/ 209 w 211"/>
              <a:gd name="T11" fmla="*/ 83 h 190"/>
              <a:gd name="T12" fmla="*/ 210 w 211"/>
              <a:gd name="T13" fmla="*/ 102 h 190"/>
              <a:gd name="T14" fmla="*/ 208 w 211"/>
              <a:gd name="T15" fmla="*/ 114 h 190"/>
              <a:gd name="T16" fmla="*/ 209 w 211"/>
              <a:gd name="T17" fmla="*/ 134 h 190"/>
              <a:gd name="T18" fmla="*/ 196 w 211"/>
              <a:gd name="T19" fmla="*/ 151 h 190"/>
              <a:gd name="T20" fmla="*/ 167 w 211"/>
              <a:gd name="T21" fmla="*/ 153 h 190"/>
              <a:gd name="T22" fmla="*/ 147 w 211"/>
              <a:gd name="T23" fmla="*/ 161 h 190"/>
              <a:gd name="T24" fmla="*/ 156 w 211"/>
              <a:gd name="T25" fmla="*/ 180 h 190"/>
              <a:gd name="T26" fmla="*/ 148 w 211"/>
              <a:gd name="T27" fmla="*/ 183 h 190"/>
              <a:gd name="T28" fmla="*/ 121 w 211"/>
              <a:gd name="T29" fmla="*/ 165 h 190"/>
              <a:gd name="T30" fmla="*/ 84 w 211"/>
              <a:gd name="T31" fmla="*/ 156 h 190"/>
              <a:gd name="T32" fmla="*/ 69 w 211"/>
              <a:gd name="T33" fmla="*/ 152 h 190"/>
              <a:gd name="T34" fmla="*/ 11 w 211"/>
              <a:gd name="T35" fmla="*/ 151 h 190"/>
              <a:gd name="T36" fmla="*/ 2 w 211"/>
              <a:gd name="T37" fmla="*/ 124 h 190"/>
              <a:gd name="T38" fmla="*/ 2 w 211"/>
              <a:gd name="T39" fmla="*/ 108 h 190"/>
              <a:gd name="T40" fmla="*/ 2 w 211"/>
              <a:gd name="T41" fmla="*/ 99 h 190"/>
              <a:gd name="T42" fmla="*/ 3 w 211"/>
              <a:gd name="T43" fmla="*/ 93 h 190"/>
              <a:gd name="T44" fmla="*/ 3 w 211"/>
              <a:gd name="T45" fmla="*/ 75 h 190"/>
              <a:gd name="T46" fmla="*/ 4 w 211"/>
              <a:gd name="T47" fmla="*/ 69 h 190"/>
              <a:gd name="T48" fmla="*/ 4 w 211"/>
              <a:gd name="T49" fmla="*/ 50 h 190"/>
              <a:gd name="T50" fmla="*/ 5 w 211"/>
              <a:gd name="T51" fmla="*/ 30 h 190"/>
              <a:gd name="T52" fmla="*/ 6 w 211"/>
              <a:gd name="T53" fmla="*/ 16 h 190"/>
              <a:gd name="T54" fmla="*/ 10 w 211"/>
              <a:gd name="T55" fmla="*/ 7 h 190"/>
              <a:gd name="T56" fmla="*/ 21 w 211"/>
              <a:gd name="T57" fmla="*/ 4 h 190"/>
              <a:gd name="T58" fmla="*/ 55 w 211"/>
              <a:gd name="T59" fmla="*/ 4 h 190"/>
              <a:gd name="T60" fmla="*/ 73 w 211"/>
              <a:gd name="T61" fmla="*/ 2 h 190"/>
              <a:gd name="T62" fmla="*/ 109 w 211"/>
              <a:gd name="T63" fmla="*/ 2 h 190"/>
              <a:gd name="T64" fmla="*/ 202 w 211"/>
              <a:gd name="T65" fmla="*/ 148 h 190"/>
              <a:gd name="T66" fmla="*/ 9 w 211"/>
              <a:gd name="T67" fmla="*/ 10 h 190"/>
              <a:gd name="T68" fmla="*/ 182 w 211"/>
              <a:gd name="T69" fmla="*/ 2 h 190"/>
              <a:gd name="T70" fmla="*/ 67 w 211"/>
              <a:gd name="T71" fmla="*/ 3 h 190"/>
              <a:gd name="T72" fmla="*/ 44 w 211"/>
              <a:gd name="T73" fmla="*/ 4 h 190"/>
              <a:gd name="T74" fmla="*/ 27 w 211"/>
              <a:gd name="T75" fmla="*/ 4 h 190"/>
              <a:gd name="T76" fmla="*/ 26 w 211"/>
              <a:gd name="T77" fmla="*/ 4 h 190"/>
              <a:gd name="T78" fmla="*/ 19 w 211"/>
              <a:gd name="T79" fmla="*/ 6 h 190"/>
              <a:gd name="T80" fmla="*/ 10 w 211"/>
              <a:gd name="T81" fmla="*/ 9 h 190"/>
              <a:gd name="T82" fmla="*/ 8 w 211"/>
              <a:gd name="T83" fmla="*/ 11 h 190"/>
              <a:gd name="T84" fmla="*/ 6 w 211"/>
              <a:gd name="T85" fmla="*/ 18 h 190"/>
              <a:gd name="T86" fmla="*/ 206 w 211"/>
              <a:gd name="T87" fmla="*/ 22 h 190"/>
              <a:gd name="T88" fmla="*/ 4 w 211"/>
              <a:gd name="T89" fmla="*/ 34 h 190"/>
              <a:gd name="T90" fmla="*/ 205 w 211"/>
              <a:gd name="T91" fmla="*/ 49 h 190"/>
              <a:gd name="T92" fmla="*/ 4 w 211"/>
              <a:gd name="T93" fmla="*/ 70 h 190"/>
              <a:gd name="T94" fmla="*/ 4 w 211"/>
              <a:gd name="T95" fmla="*/ 75 h 190"/>
              <a:gd name="T96" fmla="*/ 207 w 211"/>
              <a:gd name="T97" fmla="*/ 92 h 190"/>
              <a:gd name="T98" fmla="*/ 3 w 211"/>
              <a:gd name="T99" fmla="*/ 95 h 190"/>
              <a:gd name="T100" fmla="*/ 2 w 211"/>
              <a:gd name="T101" fmla="*/ 103 h 190"/>
              <a:gd name="T102" fmla="*/ 5 w 211"/>
              <a:gd name="T103" fmla="*/ 112 h 190"/>
              <a:gd name="T104" fmla="*/ 207 w 211"/>
              <a:gd name="T105" fmla="*/ 115 h 190"/>
              <a:gd name="T106" fmla="*/ 2 w 211"/>
              <a:gd name="T107" fmla="*/ 118 h 190"/>
              <a:gd name="T108" fmla="*/ 4 w 211"/>
              <a:gd name="T109" fmla="*/ 133 h 190"/>
              <a:gd name="T110" fmla="*/ 149 w 211"/>
              <a:gd name="T111" fmla="*/ 165 h 190"/>
              <a:gd name="T112" fmla="*/ 159 w 211"/>
              <a:gd name="T113" fmla="*/ 188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11" h="190">
                <a:moveTo>
                  <a:pt x="124" y="1"/>
                </a:moveTo>
                <a:cubicBezTo>
                  <a:pt x="125" y="1"/>
                  <a:pt x="124" y="1"/>
                  <a:pt x="124" y="1"/>
                </a:cubicBezTo>
                <a:cubicBezTo>
                  <a:pt x="132" y="0"/>
                  <a:pt x="142" y="2"/>
                  <a:pt x="154" y="1"/>
                </a:cubicBezTo>
                <a:cubicBezTo>
                  <a:pt x="154" y="1"/>
                  <a:pt x="153" y="1"/>
                  <a:pt x="153" y="1"/>
                </a:cubicBezTo>
                <a:cubicBezTo>
                  <a:pt x="154" y="1"/>
                  <a:pt x="154" y="1"/>
                  <a:pt x="154" y="2"/>
                </a:cubicBezTo>
                <a:cubicBezTo>
                  <a:pt x="154" y="1"/>
                  <a:pt x="155" y="1"/>
                  <a:pt x="155" y="2"/>
                </a:cubicBezTo>
                <a:cubicBezTo>
                  <a:pt x="156" y="1"/>
                  <a:pt x="165" y="0"/>
                  <a:pt x="166" y="3"/>
                </a:cubicBezTo>
                <a:cubicBezTo>
                  <a:pt x="167" y="1"/>
                  <a:pt x="170" y="4"/>
                  <a:pt x="171" y="3"/>
                </a:cubicBezTo>
                <a:cubicBezTo>
                  <a:pt x="172" y="3"/>
                  <a:pt x="172" y="4"/>
                  <a:pt x="174" y="3"/>
                </a:cubicBezTo>
                <a:cubicBezTo>
                  <a:pt x="174" y="2"/>
                  <a:pt x="172" y="4"/>
                  <a:pt x="172" y="3"/>
                </a:cubicBezTo>
                <a:cubicBezTo>
                  <a:pt x="171" y="3"/>
                  <a:pt x="175" y="2"/>
                  <a:pt x="175" y="3"/>
                </a:cubicBezTo>
                <a:cubicBezTo>
                  <a:pt x="176" y="2"/>
                  <a:pt x="179" y="3"/>
                  <a:pt x="180" y="2"/>
                </a:cubicBezTo>
                <a:cubicBezTo>
                  <a:pt x="181" y="2"/>
                  <a:pt x="188" y="2"/>
                  <a:pt x="188" y="4"/>
                </a:cubicBezTo>
                <a:cubicBezTo>
                  <a:pt x="189" y="3"/>
                  <a:pt x="189" y="4"/>
                  <a:pt x="189" y="4"/>
                </a:cubicBezTo>
                <a:cubicBezTo>
                  <a:pt x="191" y="4"/>
                  <a:pt x="192" y="5"/>
                  <a:pt x="195" y="4"/>
                </a:cubicBezTo>
                <a:cubicBezTo>
                  <a:pt x="194" y="5"/>
                  <a:pt x="195" y="5"/>
                  <a:pt x="194" y="6"/>
                </a:cubicBezTo>
                <a:cubicBezTo>
                  <a:pt x="196" y="8"/>
                  <a:pt x="202" y="6"/>
                  <a:pt x="202" y="8"/>
                </a:cubicBezTo>
                <a:cubicBezTo>
                  <a:pt x="202" y="8"/>
                  <a:pt x="202" y="8"/>
                  <a:pt x="203" y="8"/>
                </a:cubicBezTo>
                <a:cubicBezTo>
                  <a:pt x="203" y="8"/>
                  <a:pt x="203" y="8"/>
                  <a:pt x="202" y="8"/>
                </a:cubicBezTo>
                <a:cubicBezTo>
                  <a:pt x="204" y="9"/>
                  <a:pt x="205" y="11"/>
                  <a:pt x="207" y="12"/>
                </a:cubicBezTo>
                <a:cubicBezTo>
                  <a:pt x="206" y="13"/>
                  <a:pt x="207" y="13"/>
                  <a:pt x="208" y="14"/>
                </a:cubicBezTo>
                <a:cubicBezTo>
                  <a:pt x="207" y="16"/>
                  <a:pt x="207" y="17"/>
                  <a:pt x="208" y="19"/>
                </a:cubicBezTo>
                <a:cubicBezTo>
                  <a:pt x="208" y="19"/>
                  <a:pt x="208" y="19"/>
                  <a:pt x="207" y="19"/>
                </a:cubicBezTo>
                <a:cubicBezTo>
                  <a:pt x="207" y="20"/>
                  <a:pt x="208" y="21"/>
                  <a:pt x="207" y="22"/>
                </a:cubicBezTo>
                <a:cubicBezTo>
                  <a:pt x="210" y="24"/>
                  <a:pt x="209" y="27"/>
                  <a:pt x="209" y="30"/>
                </a:cubicBezTo>
                <a:cubicBezTo>
                  <a:pt x="207" y="29"/>
                  <a:pt x="208" y="31"/>
                  <a:pt x="207" y="32"/>
                </a:cubicBezTo>
                <a:cubicBezTo>
                  <a:pt x="208" y="32"/>
                  <a:pt x="207" y="32"/>
                  <a:pt x="207" y="33"/>
                </a:cubicBezTo>
                <a:cubicBezTo>
                  <a:pt x="208" y="33"/>
                  <a:pt x="209" y="35"/>
                  <a:pt x="209" y="37"/>
                </a:cubicBezTo>
                <a:cubicBezTo>
                  <a:pt x="209" y="38"/>
                  <a:pt x="208" y="37"/>
                  <a:pt x="208" y="38"/>
                </a:cubicBezTo>
                <a:cubicBezTo>
                  <a:pt x="208" y="37"/>
                  <a:pt x="207" y="40"/>
                  <a:pt x="207" y="38"/>
                </a:cubicBezTo>
                <a:cubicBezTo>
                  <a:pt x="206" y="38"/>
                  <a:pt x="207" y="40"/>
                  <a:pt x="208" y="39"/>
                </a:cubicBezTo>
                <a:cubicBezTo>
                  <a:pt x="207" y="40"/>
                  <a:pt x="207" y="41"/>
                  <a:pt x="208" y="42"/>
                </a:cubicBezTo>
                <a:cubicBezTo>
                  <a:pt x="208" y="42"/>
                  <a:pt x="207" y="42"/>
                  <a:pt x="206" y="42"/>
                </a:cubicBezTo>
                <a:cubicBezTo>
                  <a:pt x="206" y="43"/>
                  <a:pt x="207" y="43"/>
                  <a:pt x="207" y="42"/>
                </a:cubicBezTo>
                <a:cubicBezTo>
                  <a:pt x="207" y="45"/>
                  <a:pt x="208" y="46"/>
                  <a:pt x="207" y="48"/>
                </a:cubicBezTo>
                <a:cubicBezTo>
                  <a:pt x="206" y="48"/>
                  <a:pt x="207" y="50"/>
                  <a:pt x="206" y="49"/>
                </a:cubicBezTo>
                <a:cubicBezTo>
                  <a:pt x="206" y="49"/>
                  <a:pt x="206" y="50"/>
                  <a:pt x="205" y="50"/>
                </a:cubicBezTo>
                <a:cubicBezTo>
                  <a:pt x="208" y="51"/>
                  <a:pt x="206" y="55"/>
                  <a:pt x="209" y="56"/>
                </a:cubicBezTo>
                <a:cubicBezTo>
                  <a:pt x="208" y="56"/>
                  <a:pt x="208" y="56"/>
                  <a:pt x="208" y="56"/>
                </a:cubicBezTo>
                <a:cubicBezTo>
                  <a:pt x="210" y="59"/>
                  <a:pt x="208" y="61"/>
                  <a:pt x="209" y="65"/>
                </a:cubicBezTo>
                <a:cubicBezTo>
                  <a:pt x="209" y="66"/>
                  <a:pt x="209" y="65"/>
                  <a:pt x="208" y="65"/>
                </a:cubicBezTo>
                <a:cubicBezTo>
                  <a:pt x="208" y="65"/>
                  <a:pt x="209" y="65"/>
                  <a:pt x="209" y="66"/>
                </a:cubicBezTo>
                <a:cubicBezTo>
                  <a:pt x="208" y="65"/>
                  <a:pt x="208" y="67"/>
                  <a:pt x="209" y="68"/>
                </a:cubicBezTo>
                <a:cubicBezTo>
                  <a:pt x="208" y="68"/>
                  <a:pt x="208" y="68"/>
                  <a:pt x="208" y="67"/>
                </a:cubicBezTo>
                <a:cubicBezTo>
                  <a:pt x="207" y="68"/>
                  <a:pt x="209" y="69"/>
                  <a:pt x="209" y="70"/>
                </a:cubicBezTo>
                <a:cubicBezTo>
                  <a:pt x="207" y="74"/>
                  <a:pt x="210" y="77"/>
                  <a:pt x="209" y="82"/>
                </a:cubicBezTo>
                <a:cubicBezTo>
                  <a:pt x="211" y="81"/>
                  <a:pt x="208" y="82"/>
                  <a:pt x="210" y="82"/>
                </a:cubicBezTo>
                <a:cubicBezTo>
                  <a:pt x="209" y="83"/>
                  <a:pt x="209" y="83"/>
                  <a:pt x="209" y="83"/>
                </a:cubicBezTo>
                <a:cubicBezTo>
                  <a:pt x="209" y="84"/>
                  <a:pt x="209" y="86"/>
                  <a:pt x="209" y="87"/>
                </a:cubicBezTo>
                <a:cubicBezTo>
                  <a:pt x="209" y="88"/>
                  <a:pt x="209" y="88"/>
                  <a:pt x="209" y="89"/>
                </a:cubicBezTo>
                <a:cubicBezTo>
                  <a:pt x="209" y="89"/>
                  <a:pt x="209" y="89"/>
                  <a:pt x="209" y="89"/>
                </a:cubicBezTo>
                <a:cubicBezTo>
                  <a:pt x="209" y="89"/>
                  <a:pt x="209" y="90"/>
                  <a:pt x="208" y="90"/>
                </a:cubicBezTo>
                <a:cubicBezTo>
                  <a:pt x="208" y="92"/>
                  <a:pt x="208" y="93"/>
                  <a:pt x="207" y="94"/>
                </a:cubicBezTo>
                <a:cubicBezTo>
                  <a:pt x="207" y="94"/>
                  <a:pt x="208" y="94"/>
                  <a:pt x="208" y="94"/>
                </a:cubicBezTo>
                <a:cubicBezTo>
                  <a:pt x="209" y="94"/>
                  <a:pt x="208" y="95"/>
                  <a:pt x="209" y="95"/>
                </a:cubicBezTo>
                <a:cubicBezTo>
                  <a:pt x="209" y="98"/>
                  <a:pt x="210" y="100"/>
                  <a:pt x="210" y="102"/>
                </a:cubicBezTo>
                <a:cubicBezTo>
                  <a:pt x="210" y="103"/>
                  <a:pt x="209" y="103"/>
                  <a:pt x="209" y="104"/>
                </a:cubicBezTo>
                <a:cubicBezTo>
                  <a:pt x="208" y="104"/>
                  <a:pt x="208" y="103"/>
                  <a:pt x="208" y="103"/>
                </a:cubicBezTo>
                <a:cubicBezTo>
                  <a:pt x="208" y="104"/>
                  <a:pt x="209" y="107"/>
                  <a:pt x="209" y="106"/>
                </a:cubicBezTo>
                <a:cubicBezTo>
                  <a:pt x="210" y="106"/>
                  <a:pt x="210" y="107"/>
                  <a:pt x="210" y="107"/>
                </a:cubicBezTo>
                <a:cubicBezTo>
                  <a:pt x="209" y="107"/>
                  <a:pt x="209" y="112"/>
                  <a:pt x="209" y="114"/>
                </a:cubicBezTo>
                <a:cubicBezTo>
                  <a:pt x="208" y="113"/>
                  <a:pt x="209" y="114"/>
                  <a:pt x="208" y="114"/>
                </a:cubicBezTo>
                <a:cubicBezTo>
                  <a:pt x="208" y="114"/>
                  <a:pt x="208" y="114"/>
                  <a:pt x="208" y="114"/>
                </a:cubicBezTo>
                <a:cubicBezTo>
                  <a:pt x="208" y="114"/>
                  <a:pt x="208" y="114"/>
                  <a:pt x="208" y="114"/>
                </a:cubicBezTo>
                <a:cubicBezTo>
                  <a:pt x="208" y="115"/>
                  <a:pt x="208" y="115"/>
                  <a:pt x="208" y="116"/>
                </a:cubicBezTo>
                <a:cubicBezTo>
                  <a:pt x="208" y="115"/>
                  <a:pt x="209" y="115"/>
                  <a:pt x="209" y="115"/>
                </a:cubicBezTo>
                <a:cubicBezTo>
                  <a:pt x="209" y="118"/>
                  <a:pt x="209" y="126"/>
                  <a:pt x="209" y="128"/>
                </a:cubicBezTo>
                <a:cubicBezTo>
                  <a:pt x="208" y="127"/>
                  <a:pt x="208" y="128"/>
                  <a:pt x="208" y="128"/>
                </a:cubicBezTo>
                <a:cubicBezTo>
                  <a:pt x="209" y="128"/>
                  <a:pt x="208" y="128"/>
                  <a:pt x="208" y="129"/>
                </a:cubicBezTo>
                <a:cubicBezTo>
                  <a:pt x="209" y="128"/>
                  <a:pt x="208" y="134"/>
                  <a:pt x="210" y="133"/>
                </a:cubicBezTo>
                <a:cubicBezTo>
                  <a:pt x="210" y="134"/>
                  <a:pt x="210" y="134"/>
                  <a:pt x="210" y="134"/>
                </a:cubicBezTo>
                <a:cubicBezTo>
                  <a:pt x="211" y="134"/>
                  <a:pt x="210" y="135"/>
                  <a:pt x="209" y="134"/>
                </a:cubicBezTo>
                <a:cubicBezTo>
                  <a:pt x="210" y="137"/>
                  <a:pt x="210" y="145"/>
                  <a:pt x="207" y="146"/>
                </a:cubicBezTo>
                <a:cubicBezTo>
                  <a:pt x="206" y="146"/>
                  <a:pt x="207" y="147"/>
                  <a:pt x="207" y="147"/>
                </a:cubicBezTo>
                <a:cubicBezTo>
                  <a:pt x="207" y="148"/>
                  <a:pt x="207" y="146"/>
                  <a:pt x="206" y="146"/>
                </a:cubicBezTo>
                <a:cubicBezTo>
                  <a:pt x="205" y="148"/>
                  <a:pt x="203" y="148"/>
                  <a:pt x="202" y="149"/>
                </a:cubicBezTo>
                <a:cubicBezTo>
                  <a:pt x="201" y="149"/>
                  <a:pt x="201" y="148"/>
                  <a:pt x="201" y="148"/>
                </a:cubicBezTo>
                <a:cubicBezTo>
                  <a:pt x="200" y="149"/>
                  <a:pt x="200" y="149"/>
                  <a:pt x="198" y="149"/>
                </a:cubicBezTo>
                <a:cubicBezTo>
                  <a:pt x="199" y="150"/>
                  <a:pt x="197" y="150"/>
                  <a:pt x="196" y="150"/>
                </a:cubicBezTo>
                <a:cubicBezTo>
                  <a:pt x="196" y="150"/>
                  <a:pt x="196" y="151"/>
                  <a:pt x="196" y="151"/>
                </a:cubicBezTo>
                <a:cubicBezTo>
                  <a:pt x="191" y="151"/>
                  <a:pt x="182" y="154"/>
                  <a:pt x="179" y="150"/>
                </a:cubicBezTo>
                <a:cubicBezTo>
                  <a:pt x="178" y="151"/>
                  <a:pt x="177" y="152"/>
                  <a:pt x="176" y="151"/>
                </a:cubicBezTo>
                <a:cubicBezTo>
                  <a:pt x="176" y="151"/>
                  <a:pt x="176" y="151"/>
                  <a:pt x="176" y="151"/>
                </a:cubicBezTo>
                <a:cubicBezTo>
                  <a:pt x="176" y="152"/>
                  <a:pt x="174" y="150"/>
                  <a:pt x="173" y="152"/>
                </a:cubicBezTo>
                <a:cubicBezTo>
                  <a:pt x="173" y="151"/>
                  <a:pt x="173" y="151"/>
                  <a:pt x="173" y="151"/>
                </a:cubicBezTo>
                <a:cubicBezTo>
                  <a:pt x="173" y="151"/>
                  <a:pt x="172" y="151"/>
                  <a:pt x="172" y="151"/>
                </a:cubicBezTo>
                <a:cubicBezTo>
                  <a:pt x="173" y="152"/>
                  <a:pt x="170" y="153"/>
                  <a:pt x="169" y="152"/>
                </a:cubicBezTo>
                <a:cubicBezTo>
                  <a:pt x="170" y="153"/>
                  <a:pt x="168" y="153"/>
                  <a:pt x="167" y="153"/>
                </a:cubicBezTo>
                <a:cubicBezTo>
                  <a:pt x="167" y="152"/>
                  <a:pt x="166" y="152"/>
                  <a:pt x="166" y="151"/>
                </a:cubicBezTo>
                <a:cubicBezTo>
                  <a:pt x="165" y="152"/>
                  <a:pt x="166" y="153"/>
                  <a:pt x="165" y="152"/>
                </a:cubicBezTo>
                <a:cubicBezTo>
                  <a:pt x="162" y="155"/>
                  <a:pt x="150" y="151"/>
                  <a:pt x="146" y="155"/>
                </a:cubicBezTo>
                <a:cubicBezTo>
                  <a:pt x="147" y="156"/>
                  <a:pt x="147" y="156"/>
                  <a:pt x="146" y="156"/>
                </a:cubicBezTo>
                <a:cubicBezTo>
                  <a:pt x="146" y="157"/>
                  <a:pt x="147" y="157"/>
                  <a:pt x="146" y="158"/>
                </a:cubicBezTo>
                <a:cubicBezTo>
                  <a:pt x="147" y="158"/>
                  <a:pt x="147" y="158"/>
                  <a:pt x="147" y="160"/>
                </a:cubicBezTo>
                <a:cubicBezTo>
                  <a:pt x="147" y="160"/>
                  <a:pt x="147" y="159"/>
                  <a:pt x="146" y="159"/>
                </a:cubicBezTo>
                <a:cubicBezTo>
                  <a:pt x="146" y="160"/>
                  <a:pt x="149" y="162"/>
                  <a:pt x="147" y="161"/>
                </a:cubicBezTo>
                <a:cubicBezTo>
                  <a:pt x="150" y="163"/>
                  <a:pt x="151" y="168"/>
                  <a:pt x="152" y="170"/>
                </a:cubicBezTo>
                <a:cubicBezTo>
                  <a:pt x="152" y="171"/>
                  <a:pt x="152" y="170"/>
                  <a:pt x="151" y="171"/>
                </a:cubicBezTo>
                <a:cubicBezTo>
                  <a:pt x="151" y="171"/>
                  <a:pt x="153" y="173"/>
                  <a:pt x="151" y="173"/>
                </a:cubicBezTo>
                <a:cubicBezTo>
                  <a:pt x="152" y="173"/>
                  <a:pt x="152" y="173"/>
                  <a:pt x="152" y="173"/>
                </a:cubicBezTo>
                <a:cubicBezTo>
                  <a:pt x="152" y="173"/>
                  <a:pt x="152" y="173"/>
                  <a:pt x="152" y="173"/>
                </a:cubicBezTo>
                <a:cubicBezTo>
                  <a:pt x="153" y="173"/>
                  <a:pt x="153" y="173"/>
                  <a:pt x="153" y="174"/>
                </a:cubicBezTo>
                <a:cubicBezTo>
                  <a:pt x="153" y="174"/>
                  <a:pt x="153" y="173"/>
                  <a:pt x="154" y="173"/>
                </a:cubicBezTo>
                <a:cubicBezTo>
                  <a:pt x="156" y="175"/>
                  <a:pt x="155" y="177"/>
                  <a:pt x="156" y="180"/>
                </a:cubicBezTo>
                <a:cubicBezTo>
                  <a:pt x="156" y="180"/>
                  <a:pt x="156" y="180"/>
                  <a:pt x="155" y="180"/>
                </a:cubicBezTo>
                <a:cubicBezTo>
                  <a:pt x="157" y="181"/>
                  <a:pt x="159" y="183"/>
                  <a:pt x="158" y="185"/>
                </a:cubicBezTo>
                <a:cubicBezTo>
                  <a:pt x="159" y="185"/>
                  <a:pt x="159" y="188"/>
                  <a:pt x="160" y="188"/>
                </a:cubicBezTo>
                <a:cubicBezTo>
                  <a:pt x="159" y="189"/>
                  <a:pt x="159" y="189"/>
                  <a:pt x="158" y="189"/>
                </a:cubicBezTo>
                <a:cubicBezTo>
                  <a:pt x="158" y="189"/>
                  <a:pt x="158" y="189"/>
                  <a:pt x="158" y="189"/>
                </a:cubicBezTo>
                <a:cubicBezTo>
                  <a:pt x="153" y="190"/>
                  <a:pt x="151" y="185"/>
                  <a:pt x="148" y="184"/>
                </a:cubicBezTo>
                <a:cubicBezTo>
                  <a:pt x="148" y="184"/>
                  <a:pt x="148" y="183"/>
                  <a:pt x="147" y="182"/>
                </a:cubicBezTo>
                <a:cubicBezTo>
                  <a:pt x="147" y="183"/>
                  <a:pt x="147" y="183"/>
                  <a:pt x="148" y="183"/>
                </a:cubicBezTo>
                <a:cubicBezTo>
                  <a:pt x="148" y="183"/>
                  <a:pt x="147" y="182"/>
                  <a:pt x="147" y="182"/>
                </a:cubicBezTo>
                <a:cubicBezTo>
                  <a:pt x="143" y="182"/>
                  <a:pt x="141" y="178"/>
                  <a:pt x="138" y="177"/>
                </a:cubicBezTo>
                <a:cubicBezTo>
                  <a:pt x="138" y="177"/>
                  <a:pt x="139" y="176"/>
                  <a:pt x="137" y="177"/>
                </a:cubicBezTo>
                <a:cubicBezTo>
                  <a:pt x="138" y="176"/>
                  <a:pt x="137" y="174"/>
                  <a:pt x="136" y="174"/>
                </a:cubicBezTo>
                <a:cubicBezTo>
                  <a:pt x="136" y="173"/>
                  <a:pt x="135" y="174"/>
                  <a:pt x="136" y="173"/>
                </a:cubicBezTo>
                <a:cubicBezTo>
                  <a:pt x="135" y="173"/>
                  <a:pt x="134" y="171"/>
                  <a:pt x="133" y="171"/>
                </a:cubicBezTo>
                <a:cubicBezTo>
                  <a:pt x="132" y="172"/>
                  <a:pt x="131" y="171"/>
                  <a:pt x="130" y="172"/>
                </a:cubicBezTo>
                <a:cubicBezTo>
                  <a:pt x="127" y="170"/>
                  <a:pt x="123" y="167"/>
                  <a:pt x="121" y="165"/>
                </a:cubicBezTo>
                <a:cubicBezTo>
                  <a:pt x="120" y="165"/>
                  <a:pt x="121" y="165"/>
                  <a:pt x="121" y="165"/>
                </a:cubicBezTo>
                <a:cubicBezTo>
                  <a:pt x="119" y="163"/>
                  <a:pt x="115" y="160"/>
                  <a:pt x="112" y="157"/>
                </a:cubicBezTo>
                <a:cubicBezTo>
                  <a:pt x="109" y="158"/>
                  <a:pt x="106" y="156"/>
                  <a:pt x="104" y="154"/>
                </a:cubicBezTo>
                <a:cubicBezTo>
                  <a:pt x="102" y="155"/>
                  <a:pt x="99" y="155"/>
                  <a:pt x="98" y="153"/>
                </a:cubicBezTo>
                <a:cubicBezTo>
                  <a:pt x="96" y="153"/>
                  <a:pt x="96" y="154"/>
                  <a:pt x="95" y="154"/>
                </a:cubicBezTo>
                <a:cubicBezTo>
                  <a:pt x="95" y="154"/>
                  <a:pt x="95" y="154"/>
                  <a:pt x="96" y="154"/>
                </a:cubicBezTo>
                <a:cubicBezTo>
                  <a:pt x="96" y="154"/>
                  <a:pt x="95" y="154"/>
                  <a:pt x="95" y="154"/>
                </a:cubicBezTo>
                <a:cubicBezTo>
                  <a:pt x="91" y="157"/>
                  <a:pt x="88" y="155"/>
                  <a:pt x="84" y="156"/>
                </a:cubicBezTo>
                <a:cubicBezTo>
                  <a:pt x="84" y="155"/>
                  <a:pt x="82" y="153"/>
                  <a:pt x="81" y="152"/>
                </a:cubicBezTo>
                <a:cubicBezTo>
                  <a:pt x="80" y="152"/>
                  <a:pt x="80" y="153"/>
                  <a:pt x="79" y="153"/>
                </a:cubicBezTo>
                <a:cubicBezTo>
                  <a:pt x="79" y="154"/>
                  <a:pt x="77" y="155"/>
                  <a:pt x="76" y="155"/>
                </a:cubicBezTo>
                <a:cubicBezTo>
                  <a:pt x="76" y="156"/>
                  <a:pt x="74" y="155"/>
                  <a:pt x="73" y="156"/>
                </a:cubicBezTo>
                <a:cubicBezTo>
                  <a:pt x="73" y="154"/>
                  <a:pt x="71" y="155"/>
                  <a:pt x="71" y="153"/>
                </a:cubicBezTo>
                <a:cubicBezTo>
                  <a:pt x="70" y="153"/>
                  <a:pt x="71" y="154"/>
                  <a:pt x="70" y="154"/>
                </a:cubicBezTo>
                <a:cubicBezTo>
                  <a:pt x="70" y="154"/>
                  <a:pt x="70" y="153"/>
                  <a:pt x="70" y="154"/>
                </a:cubicBezTo>
                <a:cubicBezTo>
                  <a:pt x="69" y="153"/>
                  <a:pt x="70" y="153"/>
                  <a:pt x="69" y="152"/>
                </a:cubicBezTo>
                <a:cubicBezTo>
                  <a:pt x="64" y="155"/>
                  <a:pt x="60" y="153"/>
                  <a:pt x="54" y="152"/>
                </a:cubicBezTo>
                <a:cubicBezTo>
                  <a:pt x="55" y="153"/>
                  <a:pt x="53" y="151"/>
                  <a:pt x="53" y="153"/>
                </a:cubicBezTo>
                <a:cubicBezTo>
                  <a:pt x="49" y="151"/>
                  <a:pt x="48" y="154"/>
                  <a:pt x="43" y="153"/>
                </a:cubicBezTo>
                <a:cubicBezTo>
                  <a:pt x="41" y="153"/>
                  <a:pt x="38" y="152"/>
                  <a:pt x="36" y="153"/>
                </a:cubicBezTo>
                <a:cubicBezTo>
                  <a:pt x="35" y="151"/>
                  <a:pt x="32" y="153"/>
                  <a:pt x="30" y="153"/>
                </a:cubicBezTo>
                <a:cubicBezTo>
                  <a:pt x="30" y="153"/>
                  <a:pt x="30" y="153"/>
                  <a:pt x="30" y="152"/>
                </a:cubicBezTo>
                <a:cubicBezTo>
                  <a:pt x="25" y="151"/>
                  <a:pt x="18" y="156"/>
                  <a:pt x="13" y="150"/>
                </a:cubicBezTo>
                <a:cubicBezTo>
                  <a:pt x="12" y="150"/>
                  <a:pt x="12" y="151"/>
                  <a:pt x="11" y="151"/>
                </a:cubicBezTo>
                <a:cubicBezTo>
                  <a:pt x="10" y="151"/>
                  <a:pt x="9" y="150"/>
                  <a:pt x="9" y="150"/>
                </a:cubicBezTo>
                <a:cubicBezTo>
                  <a:pt x="8" y="149"/>
                  <a:pt x="6" y="147"/>
                  <a:pt x="6" y="145"/>
                </a:cubicBezTo>
                <a:cubicBezTo>
                  <a:pt x="7" y="143"/>
                  <a:pt x="6" y="141"/>
                  <a:pt x="4" y="141"/>
                </a:cubicBezTo>
                <a:cubicBezTo>
                  <a:pt x="5" y="141"/>
                  <a:pt x="3" y="139"/>
                  <a:pt x="4" y="139"/>
                </a:cubicBezTo>
                <a:cubicBezTo>
                  <a:pt x="3" y="139"/>
                  <a:pt x="3" y="136"/>
                  <a:pt x="2" y="137"/>
                </a:cubicBezTo>
                <a:cubicBezTo>
                  <a:pt x="3" y="133"/>
                  <a:pt x="3" y="131"/>
                  <a:pt x="3" y="126"/>
                </a:cubicBezTo>
                <a:cubicBezTo>
                  <a:pt x="3" y="126"/>
                  <a:pt x="2" y="126"/>
                  <a:pt x="2" y="126"/>
                </a:cubicBezTo>
                <a:cubicBezTo>
                  <a:pt x="2" y="125"/>
                  <a:pt x="1" y="125"/>
                  <a:pt x="2" y="124"/>
                </a:cubicBezTo>
                <a:cubicBezTo>
                  <a:pt x="3" y="122"/>
                  <a:pt x="0" y="119"/>
                  <a:pt x="2" y="116"/>
                </a:cubicBezTo>
                <a:cubicBezTo>
                  <a:pt x="1" y="117"/>
                  <a:pt x="2" y="116"/>
                  <a:pt x="1" y="116"/>
                </a:cubicBezTo>
                <a:cubicBezTo>
                  <a:pt x="1" y="115"/>
                  <a:pt x="2" y="116"/>
                  <a:pt x="2" y="116"/>
                </a:cubicBezTo>
                <a:cubicBezTo>
                  <a:pt x="2" y="116"/>
                  <a:pt x="3" y="114"/>
                  <a:pt x="2" y="114"/>
                </a:cubicBezTo>
                <a:cubicBezTo>
                  <a:pt x="2" y="113"/>
                  <a:pt x="3" y="114"/>
                  <a:pt x="3" y="114"/>
                </a:cubicBezTo>
                <a:cubicBezTo>
                  <a:pt x="3" y="114"/>
                  <a:pt x="3" y="113"/>
                  <a:pt x="3" y="112"/>
                </a:cubicBezTo>
                <a:cubicBezTo>
                  <a:pt x="4" y="113"/>
                  <a:pt x="3" y="112"/>
                  <a:pt x="4" y="112"/>
                </a:cubicBezTo>
                <a:cubicBezTo>
                  <a:pt x="3" y="110"/>
                  <a:pt x="3" y="109"/>
                  <a:pt x="2" y="108"/>
                </a:cubicBezTo>
                <a:cubicBezTo>
                  <a:pt x="2" y="108"/>
                  <a:pt x="2" y="108"/>
                  <a:pt x="1" y="108"/>
                </a:cubicBezTo>
                <a:cubicBezTo>
                  <a:pt x="2" y="107"/>
                  <a:pt x="1" y="107"/>
                  <a:pt x="1" y="106"/>
                </a:cubicBezTo>
                <a:cubicBezTo>
                  <a:pt x="1" y="106"/>
                  <a:pt x="1" y="106"/>
                  <a:pt x="2" y="106"/>
                </a:cubicBezTo>
                <a:cubicBezTo>
                  <a:pt x="1" y="106"/>
                  <a:pt x="1" y="106"/>
                  <a:pt x="1" y="106"/>
                </a:cubicBezTo>
                <a:cubicBezTo>
                  <a:pt x="1" y="105"/>
                  <a:pt x="2" y="105"/>
                  <a:pt x="2" y="105"/>
                </a:cubicBezTo>
                <a:cubicBezTo>
                  <a:pt x="2" y="104"/>
                  <a:pt x="2" y="104"/>
                  <a:pt x="1" y="104"/>
                </a:cubicBezTo>
                <a:cubicBezTo>
                  <a:pt x="1" y="102"/>
                  <a:pt x="3" y="101"/>
                  <a:pt x="1" y="101"/>
                </a:cubicBezTo>
                <a:cubicBezTo>
                  <a:pt x="1" y="100"/>
                  <a:pt x="2" y="100"/>
                  <a:pt x="2" y="99"/>
                </a:cubicBezTo>
                <a:cubicBezTo>
                  <a:pt x="1" y="100"/>
                  <a:pt x="1" y="100"/>
                  <a:pt x="1" y="100"/>
                </a:cubicBezTo>
                <a:cubicBezTo>
                  <a:pt x="1" y="100"/>
                  <a:pt x="1" y="100"/>
                  <a:pt x="1" y="99"/>
                </a:cubicBezTo>
                <a:cubicBezTo>
                  <a:pt x="2" y="99"/>
                  <a:pt x="2" y="99"/>
                  <a:pt x="1" y="98"/>
                </a:cubicBezTo>
                <a:cubicBezTo>
                  <a:pt x="3" y="99"/>
                  <a:pt x="1" y="97"/>
                  <a:pt x="2" y="97"/>
                </a:cubicBezTo>
                <a:cubicBezTo>
                  <a:pt x="2" y="97"/>
                  <a:pt x="2" y="97"/>
                  <a:pt x="2" y="97"/>
                </a:cubicBezTo>
                <a:cubicBezTo>
                  <a:pt x="3" y="96"/>
                  <a:pt x="1" y="96"/>
                  <a:pt x="3" y="96"/>
                </a:cubicBezTo>
                <a:cubicBezTo>
                  <a:pt x="2" y="95"/>
                  <a:pt x="3" y="94"/>
                  <a:pt x="2" y="94"/>
                </a:cubicBezTo>
                <a:cubicBezTo>
                  <a:pt x="3" y="94"/>
                  <a:pt x="2" y="93"/>
                  <a:pt x="3" y="93"/>
                </a:cubicBezTo>
                <a:cubicBezTo>
                  <a:pt x="3" y="93"/>
                  <a:pt x="3" y="91"/>
                  <a:pt x="3" y="92"/>
                </a:cubicBezTo>
                <a:cubicBezTo>
                  <a:pt x="4" y="92"/>
                  <a:pt x="2" y="91"/>
                  <a:pt x="3" y="91"/>
                </a:cubicBezTo>
                <a:cubicBezTo>
                  <a:pt x="0" y="89"/>
                  <a:pt x="1" y="86"/>
                  <a:pt x="2" y="83"/>
                </a:cubicBezTo>
                <a:cubicBezTo>
                  <a:pt x="1" y="84"/>
                  <a:pt x="2" y="82"/>
                  <a:pt x="3" y="82"/>
                </a:cubicBezTo>
                <a:cubicBezTo>
                  <a:pt x="2" y="82"/>
                  <a:pt x="2" y="82"/>
                  <a:pt x="2" y="82"/>
                </a:cubicBezTo>
                <a:cubicBezTo>
                  <a:pt x="3" y="82"/>
                  <a:pt x="5" y="78"/>
                  <a:pt x="2" y="78"/>
                </a:cubicBezTo>
                <a:cubicBezTo>
                  <a:pt x="2" y="76"/>
                  <a:pt x="3" y="78"/>
                  <a:pt x="2" y="76"/>
                </a:cubicBezTo>
                <a:cubicBezTo>
                  <a:pt x="2" y="77"/>
                  <a:pt x="3" y="76"/>
                  <a:pt x="3" y="75"/>
                </a:cubicBezTo>
                <a:cubicBezTo>
                  <a:pt x="3" y="76"/>
                  <a:pt x="3" y="77"/>
                  <a:pt x="4" y="77"/>
                </a:cubicBezTo>
                <a:cubicBezTo>
                  <a:pt x="3" y="76"/>
                  <a:pt x="4" y="76"/>
                  <a:pt x="3" y="75"/>
                </a:cubicBezTo>
                <a:cubicBezTo>
                  <a:pt x="3" y="75"/>
                  <a:pt x="4" y="74"/>
                  <a:pt x="3" y="74"/>
                </a:cubicBezTo>
                <a:cubicBezTo>
                  <a:pt x="4" y="75"/>
                  <a:pt x="4" y="73"/>
                  <a:pt x="4" y="74"/>
                </a:cubicBezTo>
                <a:cubicBezTo>
                  <a:pt x="4" y="72"/>
                  <a:pt x="3" y="72"/>
                  <a:pt x="3" y="71"/>
                </a:cubicBezTo>
                <a:cubicBezTo>
                  <a:pt x="4" y="72"/>
                  <a:pt x="2" y="69"/>
                  <a:pt x="4" y="68"/>
                </a:cubicBezTo>
                <a:cubicBezTo>
                  <a:pt x="4" y="69"/>
                  <a:pt x="4" y="69"/>
                  <a:pt x="4" y="69"/>
                </a:cubicBezTo>
                <a:cubicBezTo>
                  <a:pt x="4" y="69"/>
                  <a:pt x="4" y="69"/>
                  <a:pt x="4" y="69"/>
                </a:cubicBezTo>
                <a:cubicBezTo>
                  <a:pt x="5" y="69"/>
                  <a:pt x="5" y="69"/>
                  <a:pt x="4" y="70"/>
                </a:cubicBezTo>
                <a:cubicBezTo>
                  <a:pt x="5" y="70"/>
                  <a:pt x="5" y="69"/>
                  <a:pt x="5" y="69"/>
                </a:cubicBezTo>
                <a:cubicBezTo>
                  <a:pt x="4" y="69"/>
                  <a:pt x="4" y="68"/>
                  <a:pt x="4" y="67"/>
                </a:cubicBezTo>
                <a:cubicBezTo>
                  <a:pt x="3" y="68"/>
                  <a:pt x="3" y="67"/>
                  <a:pt x="2" y="67"/>
                </a:cubicBezTo>
                <a:cubicBezTo>
                  <a:pt x="2" y="65"/>
                  <a:pt x="2" y="62"/>
                  <a:pt x="2" y="61"/>
                </a:cubicBezTo>
                <a:cubicBezTo>
                  <a:pt x="2" y="60"/>
                  <a:pt x="4" y="61"/>
                  <a:pt x="3" y="62"/>
                </a:cubicBezTo>
                <a:cubicBezTo>
                  <a:pt x="5" y="59"/>
                  <a:pt x="3" y="56"/>
                  <a:pt x="4" y="54"/>
                </a:cubicBezTo>
                <a:cubicBezTo>
                  <a:pt x="5" y="54"/>
                  <a:pt x="6" y="50"/>
                  <a:pt x="4" y="50"/>
                </a:cubicBezTo>
                <a:cubicBezTo>
                  <a:pt x="2" y="43"/>
                  <a:pt x="4" y="39"/>
                  <a:pt x="3" y="33"/>
                </a:cubicBezTo>
                <a:cubicBezTo>
                  <a:pt x="4" y="33"/>
                  <a:pt x="4" y="33"/>
                  <a:pt x="4" y="33"/>
                </a:cubicBezTo>
                <a:cubicBezTo>
                  <a:pt x="4" y="33"/>
                  <a:pt x="3" y="33"/>
                  <a:pt x="4" y="32"/>
                </a:cubicBezTo>
                <a:cubicBezTo>
                  <a:pt x="4" y="32"/>
                  <a:pt x="4" y="32"/>
                  <a:pt x="3" y="32"/>
                </a:cubicBezTo>
                <a:cubicBezTo>
                  <a:pt x="4" y="31"/>
                  <a:pt x="4" y="32"/>
                  <a:pt x="5" y="32"/>
                </a:cubicBezTo>
                <a:cubicBezTo>
                  <a:pt x="4" y="32"/>
                  <a:pt x="4" y="31"/>
                  <a:pt x="4" y="31"/>
                </a:cubicBezTo>
                <a:cubicBezTo>
                  <a:pt x="4" y="31"/>
                  <a:pt x="5" y="31"/>
                  <a:pt x="5" y="31"/>
                </a:cubicBezTo>
                <a:cubicBezTo>
                  <a:pt x="5" y="31"/>
                  <a:pt x="4" y="30"/>
                  <a:pt x="5" y="30"/>
                </a:cubicBezTo>
                <a:cubicBezTo>
                  <a:pt x="4" y="31"/>
                  <a:pt x="5" y="30"/>
                  <a:pt x="5" y="28"/>
                </a:cubicBezTo>
                <a:cubicBezTo>
                  <a:pt x="5" y="28"/>
                  <a:pt x="4" y="27"/>
                  <a:pt x="3" y="27"/>
                </a:cubicBezTo>
                <a:cubicBezTo>
                  <a:pt x="3" y="26"/>
                  <a:pt x="3" y="24"/>
                  <a:pt x="3" y="24"/>
                </a:cubicBezTo>
                <a:cubicBezTo>
                  <a:pt x="3" y="23"/>
                  <a:pt x="3" y="24"/>
                  <a:pt x="4" y="24"/>
                </a:cubicBezTo>
                <a:cubicBezTo>
                  <a:pt x="3" y="22"/>
                  <a:pt x="5" y="20"/>
                  <a:pt x="3" y="20"/>
                </a:cubicBezTo>
                <a:cubicBezTo>
                  <a:pt x="3" y="19"/>
                  <a:pt x="4" y="20"/>
                  <a:pt x="5" y="20"/>
                </a:cubicBezTo>
                <a:cubicBezTo>
                  <a:pt x="4" y="19"/>
                  <a:pt x="4" y="19"/>
                  <a:pt x="4" y="19"/>
                </a:cubicBezTo>
                <a:cubicBezTo>
                  <a:pt x="5" y="18"/>
                  <a:pt x="7" y="18"/>
                  <a:pt x="6" y="16"/>
                </a:cubicBezTo>
                <a:cubicBezTo>
                  <a:pt x="6" y="16"/>
                  <a:pt x="7" y="17"/>
                  <a:pt x="6" y="17"/>
                </a:cubicBezTo>
                <a:cubicBezTo>
                  <a:pt x="6" y="15"/>
                  <a:pt x="6" y="16"/>
                  <a:pt x="6" y="14"/>
                </a:cubicBezTo>
                <a:cubicBezTo>
                  <a:pt x="6" y="15"/>
                  <a:pt x="6" y="15"/>
                  <a:pt x="7" y="15"/>
                </a:cubicBezTo>
                <a:cubicBezTo>
                  <a:pt x="6" y="13"/>
                  <a:pt x="9" y="13"/>
                  <a:pt x="7" y="10"/>
                </a:cubicBezTo>
                <a:cubicBezTo>
                  <a:pt x="8" y="10"/>
                  <a:pt x="8" y="9"/>
                  <a:pt x="9" y="8"/>
                </a:cubicBezTo>
                <a:cubicBezTo>
                  <a:pt x="10" y="9"/>
                  <a:pt x="9" y="9"/>
                  <a:pt x="9" y="8"/>
                </a:cubicBezTo>
                <a:cubicBezTo>
                  <a:pt x="10" y="8"/>
                  <a:pt x="10" y="8"/>
                  <a:pt x="10" y="8"/>
                </a:cubicBezTo>
                <a:cubicBezTo>
                  <a:pt x="11" y="8"/>
                  <a:pt x="10" y="8"/>
                  <a:pt x="10" y="7"/>
                </a:cubicBezTo>
                <a:cubicBezTo>
                  <a:pt x="11" y="7"/>
                  <a:pt x="11" y="7"/>
                  <a:pt x="11" y="7"/>
                </a:cubicBezTo>
                <a:cubicBezTo>
                  <a:pt x="12" y="7"/>
                  <a:pt x="12" y="7"/>
                  <a:pt x="12" y="6"/>
                </a:cubicBezTo>
                <a:cubicBezTo>
                  <a:pt x="13" y="6"/>
                  <a:pt x="14" y="5"/>
                  <a:pt x="15" y="6"/>
                </a:cubicBezTo>
                <a:cubicBezTo>
                  <a:pt x="15" y="5"/>
                  <a:pt x="14" y="5"/>
                  <a:pt x="14" y="5"/>
                </a:cubicBezTo>
                <a:cubicBezTo>
                  <a:pt x="15" y="4"/>
                  <a:pt x="17" y="5"/>
                  <a:pt x="17" y="6"/>
                </a:cubicBezTo>
                <a:cubicBezTo>
                  <a:pt x="18" y="5"/>
                  <a:pt x="18" y="6"/>
                  <a:pt x="18" y="5"/>
                </a:cubicBezTo>
                <a:cubicBezTo>
                  <a:pt x="19" y="5"/>
                  <a:pt x="19" y="6"/>
                  <a:pt x="19" y="4"/>
                </a:cubicBezTo>
                <a:cubicBezTo>
                  <a:pt x="20" y="4"/>
                  <a:pt x="21" y="5"/>
                  <a:pt x="21" y="4"/>
                </a:cubicBezTo>
                <a:cubicBezTo>
                  <a:pt x="22" y="4"/>
                  <a:pt x="21" y="5"/>
                  <a:pt x="22" y="5"/>
                </a:cubicBezTo>
                <a:cubicBezTo>
                  <a:pt x="22" y="5"/>
                  <a:pt x="21" y="5"/>
                  <a:pt x="22" y="4"/>
                </a:cubicBezTo>
                <a:cubicBezTo>
                  <a:pt x="22" y="4"/>
                  <a:pt x="22" y="5"/>
                  <a:pt x="23" y="4"/>
                </a:cubicBezTo>
                <a:cubicBezTo>
                  <a:pt x="27" y="5"/>
                  <a:pt x="32" y="0"/>
                  <a:pt x="35" y="4"/>
                </a:cubicBezTo>
                <a:cubicBezTo>
                  <a:pt x="37" y="3"/>
                  <a:pt x="40" y="2"/>
                  <a:pt x="43" y="3"/>
                </a:cubicBezTo>
                <a:cubicBezTo>
                  <a:pt x="44" y="2"/>
                  <a:pt x="47" y="3"/>
                  <a:pt x="48" y="2"/>
                </a:cubicBezTo>
                <a:cubicBezTo>
                  <a:pt x="48" y="3"/>
                  <a:pt x="51" y="3"/>
                  <a:pt x="51" y="4"/>
                </a:cubicBezTo>
                <a:cubicBezTo>
                  <a:pt x="53" y="4"/>
                  <a:pt x="54" y="2"/>
                  <a:pt x="55" y="4"/>
                </a:cubicBezTo>
                <a:cubicBezTo>
                  <a:pt x="55" y="3"/>
                  <a:pt x="55" y="3"/>
                  <a:pt x="56" y="3"/>
                </a:cubicBezTo>
                <a:cubicBezTo>
                  <a:pt x="56" y="3"/>
                  <a:pt x="55" y="3"/>
                  <a:pt x="55" y="4"/>
                </a:cubicBezTo>
                <a:cubicBezTo>
                  <a:pt x="56" y="3"/>
                  <a:pt x="56" y="3"/>
                  <a:pt x="56" y="3"/>
                </a:cubicBezTo>
                <a:cubicBezTo>
                  <a:pt x="56" y="3"/>
                  <a:pt x="57" y="3"/>
                  <a:pt x="58" y="4"/>
                </a:cubicBezTo>
                <a:cubicBezTo>
                  <a:pt x="60" y="2"/>
                  <a:pt x="61" y="3"/>
                  <a:pt x="63" y="3"/>
                </a:cubicBezTo>
                <a:cubicBezTo>
                  <a:pt x="63" y="1"/>
                  <a:pt x="67" y="4"/>
                  <a:pt x="67" y="2"/>
                </a:cubicBezTo>
                <a:cubicBezTo>
                  <a:pt x="69" y="3"/>
                  <a:pt x="71" y="2"/>
                  <a:pt x="73" y="2"/>
                </a:cubicBezTo>
                <a:cubicBezTo>
                  <a:pt x="73" y="2"/>
                  <a:pt x="73" y="2"/>
                  <a:pt x="73" y="2"/>
                </a:cubicBezTo>
                <a:cubicBezTo>
                  <a:pt x="75" y="3"/>
                  <a:pt x="78" y="1"/>
                  <a:pt x="80" y="2"/>
                </a:cubicBezTo>
                <a:cubicBezTo>
                  <a:pt x="81" y="0"/>
                  <a:pt x="90" y="1"/>
                  <a:pt x="93" y="1"/>
                </a:cubicBezTo>
                <a:cubicBezTo>
                  <a:pt x="94" y="0"/>
                  <a:pt x="99" y="2"/>
                  <a:pt x="100" y="1"/>
                </a:cubicBezTo>
                <a:cubicBezTo>
                  <a:pt x="101" y="2"/>
                  <a:pt x="102" y="2"/>
                  <a:pt x="102" y="3"/>
                </a:cubicBezTo>
                <a:cubicBezTo>
                  <a:pt x="103" y="3"/>
                  <a:pt x="103" y="4"/>
                  <a:pt x="104" y="2"/>
                </a:cubicBezTo>
                <a:cubicBezTo>
                  <a:pt x="104" y="2"/>
                  <a:pt x="104" y="3"/>
                  <a:pt x="104" y="3"/>
                </a:cubicBezTo>
                <a:cubicBezTo>
                  <a:pt x="105" y="1"/>
                  <a:pt x="107" y="1"/>
                  <a:pt x="109" y="1"/>
                </a:cubicBezTo>
                <a:cubicBezTo>
                  <a:pt x="109" y="1"/>
                  <a:pt x="108" y="1"/>
                  <a:pt x="109" y="2"/>
                </a:cubicBezTo>
                <a:cubicBezTo>
                  <a:pt x="110" y="2"/>
                  <a:pt x="109" y="1"/>
                  <a:pt x="109" y="1"/>
                </a:cubicBezTo>
                <a:cubicBezTo>
                  <a:pt x="110" y="1"/>
                  <a:pt x="110" y="2"/>
                  <a:pt x="110" y="1"/>
                </a:cubicBezTo>
                <a:cubicBezTo>
                  <a:pt x="113" y="4"/>
                  <a:pt x="115" y="1"/>
                  <a:pt x="119" y="1"/>
                </a:cubicBezTo>
                <a:cubicBezTo>
                  <a:pt x="119" y="1"/>
                  <a:pt x="122" y="1"/>
                  <a:pt x="124" y="1"/>
                </a:cubicBezTo>
                <a:cubicBezTo>
                  <a:pt x="123" y="0"/>
                  <a:pt x="124" y="1"/>
                  <a:pt x="124" y="1"/>
                </a:cubicBezTo>
                <a:close/>
                <a:moveTo>
                  <a:pt x="209" y="103"/>
                </a:moveTo>
                <a:cubicBezTo>
                  <a:pt x="208" y="104"/>
                  <a:pt x="210" y="102"/>
                  <a:pt x="209" y="103"/>
                </a:cubicBezTo>
                <a:close/>
                <a:moveTo>
                  <a:pt x="202" y="148"/>
                </a:moveTo>
                <a:cubicBezTo>
                  <a:pt x="201" y="149"/>
                  <a:pt x="203" y="147"/>
                  <a:pt x="202" y="148"/>
                </a:cubicBezTo>
                <a:close/>
                <a:moveTo>
                  <a:pt x="200" y="149"/>
                </a:moveTo>
                <a:cubicBezTo>
                  <a:pt x="199" y="150"/>
                  <a:pt x="201" y="148"/>
                  <a:pt x="200" y="149"/>
                </a:cubicBezTo>
                <a:close/>
                <a:moveTo>
                  <a:pt x="1" y="101"/>
                </a:moveTo>
                <a:cubicBezTo>
                  <a:pt x="1" y="101"/>
                  <a:pt x="1" y="101"/>
                  <a:pt x="1" y="101"/>
                </a:cubicBezTo>
                <a:close/>
                <a:moveTo>
                  <a:pt x="3" y="75"/>
                </a:moveTo>
                <a:cubicBezTo>
                  <a:pt x="3" y="75"/>
                  <a:pt x="3" y="75"/>
                  <a:pt x="3" y="75"/>
                </a:cubicBezTo>
                <a:close/>
                <a:moveTo>
                  <a:pt x="9" y="10"/>
                </a:moveTo>
                <a:cubicBezTo>
                  <a:pt x="9" y="9"/>
                  <a:pt x="8" y="10"/>
                  <a:pt x="9" y="10"/>
                </a:cubicBezTo>
                <a:close/>
                <a:moveTo>
                  <a:pt x="89" y="2"/>
                </a:moveTo>
                <a:cubicBezTo>
                  <a:pt x="89" y="2"/>
                  <a:pt x="89" y="2"/>
                  <a:pt x="89" y="2"/>
                </a:cubicBezTo>
                <a:close/>
                <a:moveTo>
                  <a:pt x="106" y="2"/>
                </a:moveTo>
                <a:cubicBezTo>
                  <a:pt x="106" y="3"/>
                  <a:pt x="106" y="2"/>
                  <a:pt x="106" y="2"/>
                </a:cubicBezTo>
                <a:close/>
                <a:moveTo>
                  <a:pt x="155" y="2"/>
                </a:moveTo>
                <a:cubicBezTo>
                  <a:pt x="156" y="3"/>
                  <a:pt x="155" y="2"/>
                  <a:pt x="155" y="2"/>
                </a:cubicBezTo>
                <a:close/>
                <a:moveTo>
                  <a:pt x="182" y="2"/>
                </a:moveTo>
                <a:cubicBezTo>
                  <a:pt x="182" y="3"/>
                  <a:pt x="181" y="2"/>
                  <a:pt x="182" y="2"/>
                </a:cubicBezTo>
                <a:close/>
                <a:moveTo>
                  <a:pt x="182" y="2"/>
                </a:moveTo>
                <a:cubicBezTo>
                  <a:pt x="182" y="3"/>
                  <a:pt x="182" y="2"/>
                  <a:pt x="182" y="2"/>
                </a:cubicBezTo>
                <a:close/>
                <a:moveTo>
                  <a:pt x="45" y="3"/>
                </a:moveTo>
                <a:cubicBezTo>
                  <a:pt x="45" y="3"/>
                  <a:pt x="45" y="3"/>
                  <a:pt x="45" y="3"/>
                </a:cubicBezTo>
                <a:close/>
                <a:moveTo>
                  <a:pt x="105" y="3"/>
                </a:moveTo>
                <a:cubicBezTo>
                  <a:pt x="106" y="3"/>
                  <a:pt x="105" y="3"/>
                  <a:pt x="105" y="3"/>
                </a:cubicBezTo>
                <a:close/>
                <a:moveTo>
                  <a:pt x="67" y="3"/>
                </a:moveTo>
                <a:cubicBezTo>
                  <a:pt x="67" y="3"/>
                  <a:pt x="67" y="3"/>
                  <a:pt x="67" y="3"/>
                </a:cubicBezTo>
                <a:close/>
                <a:moveTo>
                  <a:pt x="69" y="3"/>
                </a:moveTo>
                <a:cubicBezTo>
                  <a:pt x="69" y="3"/>
                  <a:pt x="69" y="3"/>
                  <a:pt x="69" y="3"/>
                </a:cubicBezTo>
                <a:close/>
                <a:moveTo>
                  <a:pt x="174" y="3"/>
                </a:moveTo>
                <a:cubicBezTo>
                  <a:pt x="174" y="3"/>
                  <a:pt x="174" y="3"/>
                  <a:pt x="174" y="3"/>
                </a:cubicBezTo>
                <a:close/>
                <a:moveTo>
                  <a:pt x="43" y="4"/>
                </a:moveTo>
                <a:cubicBezTo>
                  <a:pt x="44" y="4"/>
                  <a:pt x="43" y="3"/>
                  <a:pt x="43" y="4"/>
                </a:cubicBezTo>
                <a:close/>
                <a:moveTo>
                  <a:pt x="44" y="4"/>
                </a:moveTo>
                <a:cubicBezTo>
                  <a:pt x="44" y="4"/>
                  <a:pt x="44" y="3"/>
                  <a:pt x="44" y="4"/>
                </a:cubicBezTo>
                <a:close/>
                <a:moveTo>
                  <a:pt x="60" y="4"/>
                </a:moveTo>
                <a:cubicBezTo>
                  <a:pt x="60" y="4"/>
                  <a:pt x="60" y="3"/>
                  <a:pt x="60" y="4"/>
                </a:cubicBezTo>
                <a:close/>
                <a:moveTo>
                  <a:pt x="104" y="4"/>
                </a:moveTo>
                <a:cubicBezTo>
                  <a:pt x="104" y="4"/>
                  <a:pt x="104" y="3"/>
                  <a:pt x="104" y="4"/>
                </a:cubicBezTo>
                <a:close/>
                <a:moveTo>
                  <a:pt x="103" y="4"/>
                </a:moveTo>
                <a:cubicBezTo>
                  <a:pt x="103" y="4"/>
                  <a:pt x="103" y="4"/>
                  <a:pt x="103" y="4"/>
                </a:cubicBezTo>
                <a:close/>
                <a:moveTo>
                  <a:pt x="27" y="4"/>
                </a:moveTo>
                <a:cubicBezTo>
                  <a:pt x="27" y="4"/>
                  <a:pt x="27" y="4"/>
                  <a:pt x="27" y="4"/>
                </a:cubicBezTo>
                <a:close/>
                <a:moveTo>
                  <a:pt x="59" y="4"/>
                </a:moveTo>
                <a:cubicBezTo>
                  <a:pt x="59" y="4"/>
                  <a:pt x="59" y="4"/>
                  <a:pt x="59" y="4"/>
                </a:cubicBezTo>
                <a:close/>
                <a:moveTo>
                  <a:pt x="104" y="4"/>
                </a:moveTo>
                <a:cubicBezTo>
                  <a:pt x="104" y="4"/>
                  <a:pt x="104" y="4"/>
                  <a:pt x="104" y="4"/>
                </a:cubicBezTo>
                <a:close/>
                <a:moveTo>
                  <a:pt x="169" y="4"/>
                </a:moveTo>
                <a:cubicBezTo>
                  <a:pt x="170" y="4"/>
                  <a:pt x="169" y="4"/>
                  <a:pt x="169" y="4"/>
                </a:cubicBezTo>
                <a:close/>
                <a:moveTo>
                  <a:pt x="26" y="4"/>
                </a:moveTo>
                <a:cubicBezTo>
                  <a:pt x="26" y="5"/>
                  <a:pt x="26" y="4"/>
                  <a:pt x="26" y="4"/>
                </a:cubicBezTo>
                <a:close/>
                <a:moveTo>
                  <a:pt x="50" y="4"/>
                </a:moveTo>
                <a:cubicBezTo>
                  <a:pt x="51" y="5"/>
                  <a:pt x="50" y="4"/>
                  <a:pt x="50" y="4"/>
                </a:cubicBezTo>
                <a:close/>
                <a:moveTo>
                  <a:pt x="190" y="5"/>
                </a:moveTo>
                <a:cubicBezTo>
                  <a:pt x="190" y="5"/>
                  <a:pt x="190" y="5"/>
                  <a:pt x="190" y="5"/>
                </a:cubicBezTo>
                <a:close/>
                <a:moveTo>
                  <a:pt x="20" y="5"/>
                </a:moveTo>
                <a:cubicBezTo>
                  <a:pt x="20" y="5"/>
                  <a:pt x="20" y="5"/>
                  <a:pt x="20" y="5"/>
                </a:cubicBezTo>
                <a:close/>
                <a:moveTo>
                  <a:pt x="19" y="6"/>
                </a:moveTo>
                <a:cubicBezTo>
                  <a:pt x="19" y="6"/>
                  <a:pt x="19" y="6"/>
                  <a:pt x="19" y="6"/>
                </a:cubicBezTo>
                <a:close/>
                <a:moveTo>
                  <a:pt x="13" y="7"/>
                </a:moveTo>
                <a:cubicBezTo>
                  <a:pt x="13" y="7"/>
                  <a:pt x="12" y="6"/>
                  <a:pt x="13" y="7"/>
                </a:cubicBezTo>
                <a:close/>
                <a:moveTo>
                  <a:pt x="11" y="8"/>
                </a:moveTo>
                <a:cubicBezTo>
                  <a:pt x="11" y="8"/>
                  <a:pt x="11" y="8"/>
                  <a:pt x="11" y="8"/>
                </a:cubicBezTo>
                <a:close/>
                <a:moveTo>
                  <a:pt x="198" y="8"/>
                </a:moveTo>
                <a:cubicBezTo>
                  <a:pt x="199" y="8"/>
                  <a:pt x="198" y="8"/>
                  <a:pt x="198" y="8"/>
                </a:cubicBezTo>
                <a:close/>
                <a:moveTo>
                  <a:pt x="10" y="9"/>
                </a:moveTo>
                <a:cubicBezTo>
                  <a:pt x="10" y="9"/>
                  <a:pt x="10" y="9"/>
                  <a:pt x="10" y="9"/>
                </a:cubicBezTo>
                <a:close/>
                <a:moveTo>
                  <a:pt x="9" y="9"/>
                </a:moveTo>
                <a:cubicBezTo>
                  <a:pt x="9" y="10"/>
                  <a:pt x="9" y="9"/>
                  <a:pt x="9" y="9"/>
                </a:cubicBezTo>
                <a:close/>
                <a:moveTo>
                  <a:pt x="202" y="9"/>
                </a:moveTo>
                <a:cubicBezTo>
                  <a:pt x="203" y="10"/>
                  <a:pt x="202" y="9"/>
                  <a:pt x="202" y="9"/>
                </a:cubicBezTo>
                <a:close/>
                <a:moveTo>
                  <a:pt x="7" y="11"/>
                </a:moveTo>
                <a:cubicBezTo>
                  <a:pt x="8" y="11"/>
                  <a:pt x="7" y="10"/>
                  <a:pt x="7" y="11"/>
                </a:cubicBezTo>
                <a:close/>
                <a:moveTo>
                  <a:pt x="8" y="11"/>
                </a:moveTo>
                <a:cubicBezTo>
                  <a:pt x="8" y="11"/>
                  <a:pt x="8" y="10"/>
                  <a:pt x="8" y="11"/>
                </a:cubicBezTo>
                <a:close/>
                <a:moveTo>
                  <a:pt x="8" y="11"/>
                </a:moveTo>
                <a:cubicBezTo>
                  <a:pt x="8" y="11"/>
                  <a:pt x="8" y="11"/>
                  <a:pt x="8" y="11"/>
                </a:cubicBezTo>
                <a:close/>
                <a:moveTo>
                  <a:pt x="6" y="16"/>
                </a:moveTo>
                <a:cubicBezTo>
                  <a:pt x="6" y="16"/>
                  <a:pt x="6" y="16"/>
                  <a:pt x="6" y="16"/>
                </a:cubicBezTo>
                <a:close/>
                <a:moveTo>
                  <a:pt x="6" y="18"/>
                </a:moveTo>
                <a:cubicBezTo>
                  <a:pt x="7" y="18"/>
                  <a:pt x="6" y="18"/>
                  <a:pt x="6" y="18"/>
                </a:cubicBezTo>
                <a:close/>
                <a:moveTo>
                  <a:pt x="6" y="18"/>
                </a:moveTo>
                <a:cubicBezTo>
                  <a:pt x="6" y="19"/>
                  <a:pt x="6" y="17"/>
                  <a:pt x="6" y="18"/>
                </a:cubicBezTo>
                <a:close/>
                <a:moveTo>
                  <a:pt x="5" y="19"/>
                </a:moveTo>
                <a:cubicBezTo>
                  <a:pt x="5" y="19"/>
                  <a:pt x="5" y="19"/>
                  <a:pt x="5" y="19"/>
                </a:cubicBezTo>
                <a:close/>
                <a:moveTo>
                  <a:pt x="5" y="20"/>
                </a:moveTo>
                <a:cubicBezTo>
                  <a:pt x="5" y="20"/>
                  <a:pt x="5" y="20"/>
                  <a:pt x="5" y="20"/>
                </a:cubicBezTo>
                <a:close/>
                <a:moveTo>
                  <a:pt x="4" y="22"/>
                </a:moveTo>
                <a:cubicBezTo>
                  <a:pt x="5" y="22"/>
                  <a:pt x="4" y="22"/>
                  <a:pt x="4" y="22"/>
                </a:cubicBezTo>
                <a:close/>
                <a:moveTo>
                  <a:pt x="206" y="22"/>
                </a:moveTo>
                <a:cubicBezTo>
                  <a:pt x="207" y="22"/>
                  <a:pt x="206" y="22"/>
                  <a:pt x="206" y="22"/>
                </a:cubicBezTo>
                <a:close/>
                <a:moveTo>
                  <a:pt x="4" y="23"/>
                </a:moveTo>
                <a:cubicBezTo>
                  <a:pt x="4" y="23"/>
                  <a:pt x="4" y="23"/>
                  <a:pt x="4" y="23"/>
                </a:cubicBezTo>
                <a:close/>
                <a:moveTo>
                  <a:pt x="5" y="30"/>
                </a:moveTo>
                <a:cubicBezTo>
                  <a:pt x="5" y="30"/>
                  <a:pt x="5" y="30"/>
                  <a:pt x="5" y="30"/>
                </a:cubicBezTo>
                <a:close/>
                <a:moveTo>
                  <a:pt x="4" y="33"/>
                </a:moveTo>
                <a:cubicBezTo>
                  <a:pt x="5" y="33"/>
                  <a:pt x="4" y="33"/>
                  <a:pt x="4" y="33"/>
                </a:cubicBezTo>
                <a:close/>
                <a:moveTo>
                  <a:pt x="4" y="34"/>
                </a:moveTo>
                <a:cubicBezTo>
                  <a:pt x="5" y="34"/>
                  <a:pt x="4" y="33"/>
                  <a:pt x="4" y="34"/>
                </a:cubicBezTo>
                <a:close/>
                <a:moveTo>
                  <a:pt x="206" y="39"/>
                </a:moveTo>
                <a:cubicBezTo>
                  <a:pt x="206" y="39"/>
                  <a:pt x="206" y="39"/>
                  <a:pt x="206" y="39"/>
                </a:cubicBezTo>
                <a:close/>
                <a:moveTo>
                  <a:pt x="206" y="40"/>
                </a:moveTo>
                <a:cubicBezTo>
                  <a:pt x="207" y="40"/>
                  <a:pt x="206" y="40"/>
                  <a:pt x="206" y="40"/>
                </a:cubicBezTo>
                <a:close/>
                <a:moveTo>
                  <a:pt x="206" y="48"/>
                </a:moveTo>
                <a:cubicBezTo>
                  <a:pt x="207" y="48"/>
                  <a:pt x="206" y="47"/>
                  <a:pt x="206" y="48"/>
                </a:cubicBezTo>
                <a:close/>
                <a:moveTo>
                  <a:pt x="205" y="49"/>
                </a:moveTo>
                <a:cubicBezTo>
                  <a:pt x="206" y="49"/>
                  <a:pt x="205" y="49"/>
                  <a:pt x="205" y="49"/>
                </a:cubicBezTo>
                <a:close/>
                <a:moveTo>
                  <a:pt x="4" y="55"/>
                </a:moveTo>
                <a:cubicBezTo>
                  <a:pt x="5" y="55"/>
                  <a:pt x="4" y="55"/>
                  <a:pt x="4" y="55"/>
                </a:cubicBezTo>
                <a:close/>
                <a:moveTo>
                  <a:pt x="4" y="56"/>
                </a:moveTo>
                <a:cubicBezTo>
                  <a:pt x="5" y="56"/>
                  <a:pt x="4" y="56"/>
                  <a:pt x="4" y="56"/>
                </a:cubicBezTo>
                <a:close/>
                <a:moveTo>
                  <a:pt x="208" y="67"/>
                </a:moveTo>
                <a:cubicBezTo>
                  <a:pt x="208" y="67"/>
                  <a:pt x="208" y="67"/>
                  <a:pt x="208" y="67"/>
                </a:cubicBezTo>
                <a:close/>
                <a:moveTo>
                  <a:pt x="4" y="70"/>
                </a:moveTo>
                <a:cubicBezTo>
                  <a:pt x="5" y="73"/>
                  <a:pt x="3" y="69"/>
                  <a:pt x="4" y="70"/>
                </a:cubicBezTo>
                <a:close/>
                <a:moveTo>
                  <a:pt x="4" y="71"/>
                </a:moveTo>
                <a:cubicBezTo>
                  <a:pt x="5" y="71"/>
                  <a:pt x="4" y="70"/>
                  <a:pt x="4" y="71"/>
                </a:cubicBezTo>
                <a:close/>
                <a:moveTo>
                  <a:pt x="4" y="75"/>
                </a:moveTo>
                <a:cubicBezTo>
                  <a:pt x="5" y="75"/>
                  <a:pt x="4" y="74"/>
                  <a:pt x="4" y="75"/>
                </a:cubicBezTo>
                <a:close/>
                <a:moveTo>
                  <a:pt x="4" y="75"/>
                </a:moveTo>
                <a:cubicBezTo>
                  <a:pt x="4" y="75"/>
                  <a:pt x="4" y="75"/>
                  <a:pt x="4" y="75"/>
                </a:cubicBezTo>
                <a:close/>
                <a:moveTo>
                  <a:pt x="4" y="75"/>
                </a:moveTo>
                <a:cubicBezTo>
                  <a:pt x="5" y="75"/>
                  <a:pt x="4" y="75"/>
                  <a:pt x="4" y="75"/>
                </a:cubicBezTo>
                <a:close/>
                <a:moveTo>
                  <a:pt x="4" y="76"/>
                </a:moveTo>
                <a:cubicBezTo>
                  <a:pt x="4" y="76"/>
                  <a:pt x="4" y="76"/>
                  <a:pt x="4" y="76"/>
                </a:cubicBezTo>
                <a:close/>
                <a:moveTo>
                  <a:pt x="3" y="77"/>
                </a:moveTo>
                <a:cubicBezTo>
                  <a:pt x="3" y="77"/>
                  <a:pt x="3" y="77"/>
                  <a:pt x="3" y="77"/>
                </a:cubicBezTo>
                <a:close/>
                <a:moveTo>
                  <a:pt x="209" y="83"/>
                </a:moveTo>
                <a:cubicBezTo>
                  <a:pt x="209" y="83"/>
                  <a:pt x="208" y="83"/>
                  <a:pt x="209" y="83"/>
                </a:cubicBezTo>
                <a:close/>
                <a:moveTo>
                  <a:pt x="207" y="92"/>
                </a:moveTo>
                <a:cubicBezTo>
                  <a:pt x="207" y="93"/>
                  <a:pt x="207" y="92"/>
                  <a:pt x="207" y="92"/>
                </a:cubicBezTo>
                <a:close/>
                <a:moveTo>
                  <a:pt x="4" y="93"/>
                </a:moveTo>
                <a:cubicBezTo>
                  <a:pt x="4" y="93"/>
                  <a:pt x="4" y="93"/>
                  <a:pt x="4" y="93"/>
                </a:cubicBezTo>
                <a:close/>
                <a:moveTo>
                  <a:pt x="3" y="94"/>
                </a:moveTo>
                <a:cubicBezTo>
                  <a:pt x="4" y="94"/>
                  <a:pt x="3" y="94"/>
                  <a:pt x="3" y="94"/>
                </a:cubicBezTo>
                <a:close/>
                <a:moveTo>
                  <a:pt x="3" y="94"/>
                </a:moveTo>
                <a:cubicBezTo>
                  <a:pt x="3" y="94"/>
                  <a:pt x="3" y="94"/>
                  <a:pt x="3" y="94"/>
                </a:cubicBezTo>
                <a:close/>
                <a:moveTo>
                  <a:pt x="3" y="95"/>
                </a:moveTo>
                <a:cubicBezTo>
                  <a:pt x="3" y="95"/>
                  <a:pt x="3" y="95"/>
                  <a:pt x="3" y="95"/>
                </a:cubicBezTo>
                <a:close/>
                <a:moveTo>
                  <a:pt x="3" y="95"/>
                </a:moveTo>
                <a:cubicBezTo>
                  <a:pt x="3" y="95"/>
                  <a:pt x="2" y="95"/>
                  <a:pt x="3" y="95"/>
                </a:cubicBezTo>
                <a:close/>
                <a:moveTo>
                  <a:pt x="209" y="97"/>
                </a:moveTo>
                <a:cubicBezTo>
                  <a:pt x="209" y="98"/>
                  <a:pt x="208" y="97"/>
                  <a:pt x="209" y="97"/>
                </a:cubicBezTo>
                <a:close/>
                <a:moveTo>
                  <a:pt x="2" y="99"/>
                </a:moveTo>
                <a:cubicBezTo>
                  <a:pt x="2" y="100"/>
                  <a:pt x="2" y="98"/>
                  <a:pt x="2" y="99"/>
                </a:cubicBezTo>
                <a:close/>
                <a:moveTo>
                  <a:pt x="2" y="103"/>
                </a:moveTo>
                <a:cubicBezTo>
                  <a:pt x="2" y="103"/>
                  <a:pt x="2" y="103"/>
                  <a:pt x="2" y="103"/>
                </a:cubicBezTo>
                <a:close/>
                <a:moveTo>
                  <a:pt x="207" y="105"/>
                </a:moveTo>
                <a:cubicBezTo>
                  <a:pt x="207" y="105"/>
                  <a:pt x="207" y="104"/>
                  <a:pt x="207" y="105"/>
                </a:cubicBezTo>
                <a:close/>
                <a:moveTo>
                  <a:pt x="2" y="106"/>
                </a:moveTo>
                <a:cubicBezTo>
                  <a:pt x="2" y="106"/>
                  <a:pt x="1" y="106"/>
                  <a:pt x="2" y="106"/>
                </a:cubicBezTo>
                <a:close/>
                <a:moveTo>
                  <a:pt x="4" y="112"/>
                </a:moveTo>
                <a:cubicBezTo>
                  <a:pt x="4" y="113"/>
                  <a:pt x="4" y="112"/>
                  <a:pt x="4" y="112"/>
                </a:cubicBezTo>
                <a:close/>
                <a:moveTo>
                  <a:pt x="5" y="112"/>
                </a:moveTo>
                <a:cubicBezTo>
                  <a:pt x="5" y="113"/>
                  <a:pt x="5" y="112"/>
                  <a:pt x="5" y="112"/>
                </a:cubicBezTo>
                <a:close/>
                <a:moveTo>
                  <a:pt x="3" y="113"/>
                </a:moveTo>
                <a:cubicBezTo>
                  <a:pt x="4" y="113"/>
                  <a:pt x="3" y="113"/>
                  <a:pt x="3" y="113"/>
                </a:cubicBezTo>
                <a:close/>
                <a:moveTo>
                  <a:pt x="4" y="113"/>
                </a:moveTo>
                <a:cubicBezTo>
                  <a:pt x="4" y="113"/>
                  <a:pt x="4" y="113"/>
                  <a:pt x="4" y="113"/>
                </a:cubicBezTo>
                <a:close/>
                <a:moveTo>
                  <a:pt x="3" y="114"/>
                </a:moveTo>
                <a:cubicBezTo>
                  <a:pt x="4" y="114"/>
                  <a:pt x="3" y="114"/>
                  <a:pt x="3" y="114"/>
                </a:cubicBezTo>
                <a:close/>
                <a:moveTo>
                  <a:pt x="207" y="115"/>
                </a:moveTo>
                <a:cubicBezTo>
                  <a:pt x="208" y="116"/>
                  <a:pt x="208" y="114"/>
                  <a:pt x="207" y="115"/>
                </a:cubicBezTo>
                <a:close/>
                <a:moveTo>
                  <a:pt x="3" y="115"/>
                </a:moveTo>
                <a:cubicBezTo>
                  <a:pt x="3" y="115"/>
                  <a:pt x="3" y="115"/>
                  <a:pt x="3" y="115"/>
                </a:cubicBezTo>
                <a:close/>
                <a:moveTo>
                  <a:pt x="3" y="116"/>
                </a:moveTo>
                <a:cubicBezTo>
                  <a:pt x="3" y="116"/>
                  <a:pt x="2" y="116"/>
                  <a:pt x="3" y="116"/>
                </a:cubicBezTo>
                <a:close/>
                <a:moveTo>
                  <a:pt x="3" y="117"/>
                </a:moveTo>
                <a:cubicBezTo>
                  <a:pt x="3" y="117"/>
                  <a:pt x="2" y="117"/>
                  <a:pt x="3" y="117"/>
                </a:cubicBezTo>
                <a:close/>
                <a:moveTo>
                  <a:pt x="2" y="118"/>
                </a:moveTo>
                <a:cubicBezTo>
                  <a:pt x="2" y="118"/>
                  <a:pt x="2" y="118"/>
                  <a:pt x="2" y="118"/>
                </a:cubicBezTo>
                <a:close/>
                <a:moveTo>
                  <a:pt x="208" y="130"/>
                </a:moveTo>
                <a:cubicBezTo>
                  <a:pt x="208" y="130"/>
                  <a:pt x="208" y="130"/>
                  <a:pt x="208" y="130"/>
                </a:cubicBezTo>
                <a:close/>
                <a:moveTo>
                  <a:pt x="208" y="131"/>
                </a:moveTo>
                <a:cubicBezTo>
                  <a:pt x="208" y="131"/>
                  <a:pt x="208" y="131"/>
                  <a:pt x="208" y="131"/>
                </a:cubicBezTo>
                <a:close/>
                <a:moveTo>
                  <a:pt x="4" y="132"/>
                </a:moveTo>
                <a:cubicBezTo>
                  <a:pt x="4" y="132"/>
                  <a:pt x="4" y="132"/>
                  <a:pt x="4" y="132"/>
                </a:cubicBezTo>
                <a:close/>
                <a:moveTo>
                  <a:pt x="4" y="133"/>
                </a:moveTo>
                <a:cubicBezTo>
                  <a:pt x="4" y="133"/>
                  <a:pt x="4" y="132"/>
                  <a:pt x="4" y="133"/>
                </a:cubicBezTo>
                <a:close/>
                <a:moveTo>
                  <a:pt x="209" y="134"/>
                </a:moveTo>
                <a:cubicBezTo>
                  <a:pt x="209" y="134"/>
                  <a:pt x="209" y="134"/>
                  <a:pt x="209" y="134"/>
                </a:cubicBezTo>
                <a:close/>
                <a:moveTo>
                  <a:pt x="3" y="135"/>
                </a:moveTo>
                <a:cubicBezTo>
                  <a:pt x="3" y="135"/>
                  <a:pt x="3" y="135"/>
                  <a:pt x="3" y="135"/>
                </a:cubicBezTo>
                <a:close/>
                <a:moveTo>
                  <a:pt x="203" y="148"/>
                </a:moveTo>
                <a:cubicBezTo>
                  <a:pt x="203" y="148"/>
                  <a:pt x="203" y="148"/>
                  <a:pt x="203" y="148"/>
                </a:cubicBezTo>
                <a:close/>
                <a:moveTo>
                  <a:pt x="149" y="165"/>
                </a:moveTo>
                <a:cubicBezTo>
                  <a:pt x="150" y="166"/>
                  <a:pt x="150" y="164"/>
                  <a:pt x="149" y="165"/>
                </a:cubicBezTo>
                <a:close/>
                <a:moveTo>
                  <a:pt x="136" y="173"/>
                </a:moveTo>
                <a:cubicBezTo>
                  <a:pt x="137" y="174"/>
                  <a:pt x="135" y="172"/>
                  <a:pt x="136" y="173"/>
                </a:cubicBezTo>
                <a:close/>
                <a:moveTo>
                  <a:pt x="137" y="173"/>
                </a:moveTo>
                <a:cubicBezTo>
                  <a:pt x="137" y="174"/>
                  <a:pt x="137" y="173"/>
                  <a:pt x="137" y="173"/>
                </a:cubicBezTo>
                <a:close/>
                <a:moveTo>
                  <a:pt x="137" y="174"/>
                </a:moveTo>
                <a:cubicBezTo>
                  <a:pt x="137" y="174"/>
                  <a:pt x="136" y="174"/>
                  <a:pt x="137" y="174"/>
                </a:cubicBezTo>
                <a:close/>
                <a:moveTo>
                  <a:pt x="159" y="188"/>
                </a:moveTo>
                <a:cubicBezTo>
                  <a:pt x="159" y="189"/>
                  <a:pt x="159" y="188"/>
                  <a:pt x="159" y="188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600" dirty="0">
              <a:solidFill>
                <a:schemeClr val="bg1"/>
              </a:solidFill>
            </a:endParaRP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toe</a:t>
            </a:r>
          </a:p>
        </p:txBody>
      </p:sp>
      <p:sp>
        <p:nvSpPr>
          <p:cNvPr id="50" name="Freeform 97">
            <a:extLst>
              <a:ext uri="{FF2B5EF4-FFF2-40B4-BE49-F238E27FC236}">
                <a16:creationId xmlns:a16="http://schemas.microsoft.com/office/drawing/2014/main" id="{74EEE4BE-42C7-CEEF-BF1F-9B17C0DB2D14}"/>
              </a:ext>
            </a:extLst>
          </p:cNvPr>
          <p:cNvSpPr>
            <a:spLocks noChangeAspect="1"/>
          </p:cNvSpPr>
          <p:nvPr/>
        </p:nvSpPr>
        <p:spPr bwMode="auto">
          <a:xfrm flipH="1">
            <a:off x="649675" y="4454642"/>
            <a:ext cx="1693191" cy="903427"/>
          </a:xfrm>
          <a:custGeom>
            <a:avLst/>
            <a:gdLst>
              <a:gd name="T0" fmla="*/ 132 w 151"/>
              <a:gd name="T1" fmla="*/ 3 h 126"/>
              <a:gd name="T2" fmla="*/ 148 w 151"/>
              <a:gd name="T3" fmla="*/ 18 h 126"/>
              <a:gd name="T4" fmla="*/ 149 w 151"/>
              <a:gd name="T5" fmla="*/ 26 h 126"/>
              <a:gd name="T6" fmla="*/ 148 w 151"/>
              <a:gd name="T7" fmla="*/ 41 h 126"/>
              <a:gd name="T8" fmla="*/ 149 w 151"/>
              <a:gd name="T9" fmla="*/ 53 h 126"/>
              <a:gd name="T10" fmla="*/ 146 w 151"/>
              <a:gd name="T11" fmla="*/ 73 h 126"/>
              <a:gd name="T12" fmla="*/ 147 w 151"/>
              <a:gd name="T13" fmla="*/ 73 h 126"/>
              <a:gd name="T14" fmla="*/ 146 w 151"/>
              <a:gd name="T15" fmla="*/ 78 h 126"/>
              <a:gd name="T16" fmla="*/ 148 w 151"/>
              <a:gd name="T17" fmla="*/ 82 h 126"/>
              <a:gd name="T18" fmla="*/ 144 w 151"/>
              <a:gd name="T19" fmla="*/ 90 h 126"/>
              <a:gd name="T20" fmla="*/ 128 w 151"/>
              <a:gd name="T21" fmla="*/ 97 h 126"/>
              <a:gd name="T22" fmla="*/ 121 w 151"/>
              <a:gd name="T23" fmla="*/ 98 h 126"/>
              <a:gd name="T24" fmla="*/ 100 w 151"/>
              <a:gd name="T25" fmla="*/ 98 h 126"/>
              <a:gd name="T26" fmla="*/ 94 w 151"/>
              <a:gd name="T27" fmla="*/ 96 h 126"/>
              <a:gd name="T28" fmla="*/ 80 w 151"/>
              <a:gd name="T29" fmla="*/ 103 h 126"/>
              <a:gd name="T30" fmla="*/ 71 w 151"/>
              <a:gd name="T31" fmla="*/ 109 h 126"/>
              <a:gd name="T32" fmla="*/ 45 w 151"/>
              <a:gd name="T33" fmla="*/ 125 h 126"/>
              <a:gd name="T34" fmla="*/ 47 w 151"/>
              <a:gd name="T35" fmla="*/ 122 h 126"/>
              <a:gd name="T36" fmla="*/ 52 w 151"/>
              <a:gd name="T37" fmla="*/ 108 h 126"/>
              <a:gd name="T38" fmla="*/ 55 w 151"/>
              <a:gd name="T39" fmla="*/ 99 h 126"/>
              <a:gd name="T40" fmla="*/ 31 w 151"/>
              <a:gd name="T41" fmla="*/ 96 h 126"/>
              <a:gd name="T42" fmla="*/ 6 w 151"/>
              <a:gd name="T43" fmla="*/ 92 h 126"/>
              <a:gd name="T44" fmla="*/ 2 w 151"/>
              <a:gd name="T45" fmla="*/ 85 h 126"/>
              <a:gd name="T46" fmla="*/ 3 w 151"/>
              <a:gd name="T47" fmla="*/ 81 h 126"/>
              <a:gd name="T48" fmla="*/ 0 w 151"/>
              <a:gd name="T49" fmla="*/ 52 h 126"/>
              <a:gd name="T50" fmla="*/ 0 w 151"/>
              <a:gd name="T51" fmla="*/ 18 h 126"/>
              <a:gd name="T52" fmla="*/ 2 w 151"/>
              <a:gd name="T53" fmla="*/ 9 h 126"/>
              <a:gd name="T54" fmla="*/ 6 w 151"/>
              <a:gd name="T55" fmla="*/ 4 h 126"/>
              <a:gd name="T56" fmla="*/ 17 w 151"/>
              <a:gd name="T57" fmla="*/ 3 h 126"/>
              <a:gd name="T58" fmla="*/ 43 w 151"/>
              <a:gd name="T59" fmla="*/ 3 h 126"/>
              <a:gd name="T60" fmla="*/ 61 w 151"/>
              <a:gd name="T61" fmla="*/ 2 h 126"/>
              <a:gd name="T62" fmla="*/ 84 w 151"/>
              <a:gd name="T63" fmla="*/ 3 h 126"/>
              <a:gd name="T64" fmla="*/ 118 w 151"/>
              <a:gd name="T65" fmla="*/ 1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51" h="126">
                <a:moveTo>
                  <a:pt x="118" y="0"/>
                </a:moveTo>
                <a:cubicBezTo>
                  <a:pt x="123" y="2"/>
                  <a:pt x="127" y="1"/>
                  <a:pt x="132" y="3"/>
                </a:cubicBezTo>
                <a:cubicBezTo>
                  <a:pt x="132" y="1"/>
                  <a:pt x="136" y="6"/>
                  <a:pt x="137" y="3"/>
                </a:cubicBezTo>
                <a:cubicBezTo>
                  <a:pt x="144" y="5"/>
                  <a:pt x="146" y="14"/>
                  <a:pt x="148" y="18"/>
                </a:cubicBezTo>
                <a:cubicBezTo>
                  <a:pt x="147" y="21"/>
                  <a:pt x="148" y="23"/>
                  <a:pt x="148" y="25"/>
                </a:cubicBezTo>
                <a:cubicBezTo>
                  <a:pt x="148" y="26"/>
                  <a:pt x="149" y="25"/>
                  <a:pt x="149" y="26"/>
                </a:cubicBezTo>
                <a:cubicBezTo>
                  <a:pt x="151" y="28"/>
                  <a:pt x="149" y="29"/>
                  <a:pt x="148" y="32"/>
                </a:cubicBezTo>
                <a:cubicBezTo>
                  <a:pt x="149" y="35"/>
                  <a:pt x="149" y="38"/>
                  <a:pt x="148" y="41"/>
                </a:cubicBezTo>
                <a:cubicBezTo>
                  <a:pt x="150" y="43"/>
                  <a:pt x="151" y="44"/>
                  <a:pt x="148" y="46"/>
                </a:cubicBezTo>
                <a:cubicBezTo>
                  <a:pt x="148" y="48"/>
                  <a:pt x="148" y="52"/>
                  <a:pt x="149" y="53"/>
                </a:cubicBezTo>
                <a:cubicBezTo>
                  <a:pt x="147" y="59"/>
                  <a:pt x="148" y="65"/>
                  <a:pt x="147" y="73"/>
                </a:cubicBezTo>
                <a:cubicBezTo>
                  <a:pt x="147" y="73"/>
                  <a:pt x="146" y="73"/>
                  <a:pt x="146" y="73"/>
                </a:cubicBezTo>
                <a:cubicBezTo>
                  <a:pt x="146" y="73"/>
                  <a:pt x="147" y="74"/>
                  <a:pt x="147" y="74"/>
                </a:cubicBezTo>
                <a:cubicBezTo>
                  <a:pt x="147" y="74"/>
                  <a:pt x="147" y="74"/>
                  <a:pt x="147" y="73"/>
                </a:cubicBezTo>
                <a:cubicBezTo>
                  <a:pt x="148" y="74"/>
                  <a:pt x="148" y="78"/>
                  <a:pt x="146" y="77"/>
                </a:cubicBezTo>
                <a:cubicBezTo>
                  <a:pt x="146" y="77"/>
                  <a:pt x="146" y="78"/>
                  <a:pt x="146" y="78"/>
                </a:cubicBezTo>
                <a:cubicBezTo>
                  <a:pt x="146" y="79"/>
                  <a:pt x="147" y="78"/>
                  <a:pt x="148" y="79"/>
                </a:cubicBezTo>
                <a:cubicBezTo>
                  <a:pt x="147" y="79"/>
                  <a:pt x="148" y="81"/>
                  <a:pt x="148" y="82"/>
                </a:cubicBezTo>
                <a:cubicBezTo>
                  <a:pt x="144" y="84"/>
                  <a:pt x="146" y="88"/>
                  <a:pt x="143" y="88"/>
                </a:cubicBezTo>
                <a:cubicBezTo>
                  <a:pt x="144" y="89"/>
                  <a:pt x="142" y="90"/>
                  <a:pt x="144" y="90"/>
                </a:cubicBezTo>
                <a:cubicBezTo>
                  <a:pt x="142" y="92"/>
                  <a:pt x="141" y="94"/>
                  <a:pt x="139" y="95"/>
                </a:cubicBezTo>
                <a:cubicBezTo>
                  <a:pt x="135" y="97"/>
                  <a:pt x="132" y="96"/>
                  <a:pt x="128" y="97"/>
                </a:cubicBezTo>
                <a:cubicBezTo>
                  <a:pt x="127" y="97"/>
                  <a:pt x="126" y="96"/>
                  <a:pt x="125" y="96"/>
                </a:cubicBezTo>
                <a:cubicBezTo>
                  <a:pt x="123" y="97"/>
                  <a:pt x="123" y="98"/>
                  <a:pt x="121" y="98"/>
                </a:cubicBezTo>
                <a:cubicBezTo>
                  <a:pt x="119" y="96"/>
                  <a:pt x="116" y="95"/>
                  <a:pt x="113" y="97"/>
                </a:cubicBezTo>
                <a:cubicBezTo>
                  <a:pt x="110" y="94"/>
                  <a:pt x="103" y="95"/>
                  <a:pt x="100" y="98"/>
                </a:cubicBezTo>
                <a:cubicBezTo>
                  <a:pt x="98" y="97"/>
                  <a:pt x="97" y="96"/>
                  <a:pt x="95" y="95"/>
                </a:cubicBezTo>
                <a:cubicBezTo>
                  <a:pt x="95" y="95"/>
                  <a:pt x="95" y="96"/>
                  <a:pt x="94" y="96"/>
                </a:cubicBezTo>
                <a:cubicBezTo>
                  <a:pt x="93" y="97"/>
                  <a:pt x="90" y="96"/>
                  <a:pt x="90" y="98"/>
                </a:cubicBezTo>
                <a:cubicBezTo>
                  <a:pt x="86" y="98"/>
                  <a:pt x="83" y="103"/>
                  <a:pt x="80" y="103"/>
                </a:cubicBezTo>
                <a:cubicBezTo>
                  <a:pt x="78" y="105"/>
                  <a:pt x="74" y="106"/>
                  <a:pt x="73" y="109"/>
                </a:cubicBezTo>
                <a:cubicBezTo>
                  <a:pt x="72" y="108"/>
                  <a:pt x="72" y="109"/>
                  <a:pt x="71" y="109"/>
                </a:cubicBezTo>
                <a:cubicBezTo>
                  <a:pt x="66" y="115"/>
                  <a:pt x="56" y="117"/>
                  <a:pt x="51" y="125"/>
                </a:cubicBezTo>
                <a:cubicBezTo>
                  <a:pt x="50" y="124"/>
                  <a:pt x="47" y="126"/>
                  <a:pt x="45" y="125"/>
                </a:cubicBezTo>
                <a:cubicBezTo>
                  <a:pt x="45" y="124"/>
                  <a:pt x="46" y="123"/>
                  <a:pt x="47" y="121"/>
                </a:cubicBezTo>
                <a:cubicBezTo>
                  <a:pt x="47" y="122"/>
                  <a:pt x="46" y="122"/>
                  <a:pt x="47" y="122"/>
                </a:cubicBezTo>
                <a:cubicBezTo>
                  <a:pt x="48" y="121"/>
                  <a:pt x="47" y="117"/>
                  <a:pt x="49" y="118"/>
                </a:cubicBezTo>
                <a:cubicBezTo>
                  <a:pt x="49" y="115"/>
                  <a:pt x="52" y="112"/>
                  <a:pt x="52" y="108"/>
                </a:cubicBezTo>
                <a:cubicBezTo>
                  <a:pt x="55" y="105"/>
                  <a:pt x="55" y="103"/>
                  <a:pt x="57" y="99"/>
                </a:cubicBezTo>
                <a:cubicBezTo>
                  <a:pt x="56" y="99"/>
                  <a:pt x="56" y="99"/>
                  <a:pt x="55" y="99"/>
                </a:cubicBezTo>
                <a:cubicBezTo>
                  <a:pt x="53" y="96"/>
                  <a:pt x="44" y="95"/>
                  <a:pt x="40" y="98"/>
                </a:cubicBezTo>
                <a:cubicBezTo>
                  <a:pt x="38" y="96"/>
                  <a:pt x="33" y="98"/>
                  <a:pt x="31" y="96"/>
                </a:cubicBezTo>
                <a:cubicBezTo>
                  <a:pt x="27" y="98"/>
                  <a:pt x="20" y="96"/>
                  <a:pt x="17" y="98"/>
                </a:cubicBezTo>
                <a:cubicBezTo>
                  <a:pt x="14" y="95"/>
                  <a:pt x="10" y="96"/>
                  <a:pt x="6" y="92"/>
                </a:cubicBezTo>
                <a:cubicBezTo>
                  <a:pt x="6" y="90"/>
                  <a:pt x="6" y="90"/>
                  <a:pt x="4" y="89"/>
                </a:cubicBezTo>
                <a:cubicBezTo>
                  <a:pt x="6" y="88"/>
                  <a:pt x="4" y="86"/>
                  <a:pt x="2" y="85"/>
                </a:cubicBezTo>
                <a:cubicBezTo>
                  <a:pt x="3" y="84"/>
                  <a:pt x="2" y="82"/>
                  <a:pt x="2" y="81"/>
                </a:cubicBezTo>
                <a:cubicBezTo>
                  <a:pt x="3" y="82"/>
                  <a:pt x="2" y="80"/>
                  <a:pt x="3" y="81"/>
                </a:cubicBezTo>
                <a:cubicBezTo>
                  <a:pt x="1" y="73"/>
                  <a:pt x="2" y="64"/>
                  <a:pt x="1" y="54"/>
                </a:cubicBezTo>
                <a:cubicBezTo>
                  <a:pt x="1" y="53"/>
                  <a:pt x="1" y="53"/>
                  <a:pt x="0" y="52"/>
                </a:cubicBezTo>
                <a:cubicBezTo>
                  <a:pt x="0" y="52"/>
                  <a:pt x="1" y="52"/>
                  <a:pt x="1" y="52"/>
                </a:cubicBezTo>
                <a:cubicBezTo>
                  <a:pt x="2" y="38"/>
                  <a:pt x="0" y="31"/>
                  <a:pt x="0" y="18"/>
                </a:cubicBezTo>
                <a:cubicBezTo>
                  <a:pt x="0" y="18"/>
                  <a:pt x="1" y="17"/>
                  <a:pt x="0" y="17"/>
                </a:cubicBezTo>
                <a:cubicBezTo>
                  <a:pt x="0" y="15"/>
                  <a:pt x="2" y="12"/>
                  <a:pt x="2" y="9"/>
                </a:cubicBezTo>
                <a:cubicBezTo>
                  <a:pt x="3" y="7"/>
                  <a:pt x="4" y="5"/>
                  <a:pt x="6" y="5"/>
                </a:cubicBezTo>
                <a:cubicBezTo>
                  <a:pt x="6" y="5"/>
                  <a:pt x="6" y="4"/>
                  <a:pt x="6" y="4"/>
                </a:cubicBezTo>
                <a:cubicBezTo>
                  <a:pt x="10" y="3"/>
                  <a:pt x="16" y="4"/>
                  <a:pt x="17" y="2"/>
                </a:cubicBezTo>
                <a:cubicBezTo>
                  <a:pt x="18" y="2"/>
                  <a:pt x="17" y="2"/>
                  <a:pt x="17" y="3"/>
                </a:cubicBezTo>
                <a:cubicBezTo>
                  <a:pt x="18" y="2"/>
                  <a:pt x="19" y="1"/>
                  <a:pt x="20" y="3"/>
                </a:cubicBezTo>
                <a:cubicBezTo>
                  <a:pt x="29" y="2"/>
                  <a:pt x="35" y="1"/>
                  <a:pt x="43" y="3"/>
                </a:cubicBezTo>
                <a:cubicBezTo>
                  <a:pt x="44" y="1"/>
                  <a:pt x="47" y="2"/>
                  <a:pt x="47" y="1"/>
                </a:cubicBezTo>
                <a:cubicBezTo>
                  <a:pt x="51" y="2"/>
                  <a:pt x="59" y="2"/>
                  <a:pt x="61" y="2"/>
                </a:cubicBezTo>
                <a:cubicBezTo>
                  <a:pt x="68" y="4"/>
                  <a:pt x="78" y="2"/>
                  <a:pt x="84" y="3"/>
                </a:cubicBezTo>
                <a:cubicBezTo>
                  <a:pt x="84" y="3"/>
                  <a:pt x="84" y="3"/>
                  <a:pt x="84" y="3"/>
                </a:cubicBezTo>
                <a:cubicBezTo>
                  <a:pt x="88" y="2"/>
                  <a:pt x="91" y="4"/>
                  <a:pt x="95" y="2"/>
                </a:cubicBezTo>
                <a:cubicBezTo>
                  <a:pt x="101" y="2"/>
                  <a:pt x="112" y="1"/>
                  <a:pt x="118" y="1"/>
                </a:cubicBezTo>
                <a:cubicBezTo>
                  <a:pt x="118" y="1"/>
                  <a:pt x="118" y="1"/>
                  <a:pt x="118" y="0"/>
                </a:cubicBezTo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600" dirty="0">
              <a:solidFill>
                <a:schemeClr val="bg1"/>
              </a:solidFill>
            </a:endParaRP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edge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54926FC3-528B-6967-DC17-2DEB139EF223}"/>
              </a:ext>
            </a:extLst>
          </p:cNvPr>
          <p:cNvGrpSpPr/>
          <p:nvPr/>
        </p:nvGrpSpPr>
        <p:grpSpPr>
          <a:xfrm>
            <a:off x="4342935" y="4229308"/>
            <a:ext cx="1291131" cy="1354093"/>
            <a:chOff x="717409" y="-556248"/>
            <a:chExt cx="2975490" cy="1825428"/>
          </a:xfrm>
        </p:grpSpPr>
        <p:sp>
          <p:nvSpPr>
            <p:cNvPr id="58" name="Freeform 97">
              <a:extLst>
                <a:ext uri="{FF2B5EF4-FFF2-40B4-BE49-F238E27FC236}">
                  <a16:creationId xmlns:a16="http://schemas.microsoft.com/office/drawing/2014/main" id="{FDEC8C9F-6406-E2BC-D31A-F8A063D0ACE7}"/>
                </a:ext>
              </a:extLst>
            </p:cNvPr>
            <p:cNvSpPr>
              <a:spLocks noChangeAspect="1"/>
            </p:cNvSpPr>
            <p:nvPr/>
          </p:nvSpPr>
          <p:spPr bwMode="auto">
            <a:xfrm flipH="1">
              <a:off x="717409" y="-556248"/>
              <a:ext cx="2655214" cy="1181185"/>
            </a:xfrm>
            <a:custGeom>
              <a:avLst/>
              <a:gdLst>
                <a:gd name="T0" fmla="*/ 132 w 151"/>
                <a:gd name="T1" fmla="*/ 3 h 126"/>
                <a:gd name="T2" fmla="*/ 148 w 151"/>
                <a:gd name="T3" fmla="*/ 18 h 126"/>
                <a:gd name="T4" fmla="*/ 149 w 151"/>
                <a:gd name="T5" fmla="*/ 26 h 126"/>
                <a:gd name="T6" fmla="*/ 148 w 151"/>
                <a:gd name="T7" fmla="*/ 41 h 126"/>
                <a:gd name="T8" fmla="*/ 149 w 151"/>
                <a:gd name="T9" fmla="*/ 53 h 126"/>
                <a:gd name="T10" fmla="*/ 146 w 151"/>
                <a:gd name="T11" fmla="*/ 73 h 126"/>
                <a:gd name="T12" fmla="*/ 147 w 151"/>
                <a:gd name="T13" fmla="*/ 73 h 126"/>
                <a:gd name="T14" fmla="*/ 146 w 151"/>
                <a:gd name="T15" fmla="*/ 78 h 126"/>
                <a:gd name="T16" fmla="*/ 148 w 151"/>
                <a:gd name="T17" fmla="*/ 82 h 126"/>
                <a:gd name="T18" fmla="*/ 144 w 151"/>
                <a:gd name="T19" fmla="*/ 90 h 126"/>
                <a:gd name="T20" fmla="*/ 128 w 151"/>
                <a:gd name="T21" fmla="*/ 97 h 126"/>
                <a:gd name="T22" fmla="*/ 121 w 151"/>
                <a:gd name="T23" fmla="*/ 98 h 126"/>
                <a:gd name="T24" fmla="*/ 100 w 151"/>
                <a:gd name="T25" fmla="*/ 98 h 126"/>
                <a:gd name="T26" fmla="*/ 94 w 151"/>
                <a:gd name="T27" fmla="*/ 96 h 126"/>
                <a:gd name="T28" fmla="*/ 80 w 151"/>
                <a:gd name="T29" fmla="*/ 103 h 126"/>
                <a:gd name="T30" fmla="*/ 71 w 151"/>
                <a:gd name="T31" fmla="*/ 109 h 126"/>
                <a:gd name="T32" fmla="*/ 45 w 151"/>
                <a:gd name="T33" fmla="*/ 125 h 126"/>
                <a:gd name="T34" fmla="*/ 47 w 151"/>
                <a:gd name="T35" fmla="*/ 122 h 126"/>
                <a:gd name="T36" fmla="*/ 52 w 151"/>
                <a:gd name="T37" fmla="*/ 108 h 126"/>
                <a:gd name="T38" fmla="*/ 55 w 151"/>
                <a:gd name="T39" fmla="*/ 99 h 126"/>
                <a:gd name="T40" fmla="*/ 31 w 151"/>
                <a:gd name="T41" fmla="*/ 96 h 126"/>
                <a:gd name="T42" fmla="*/ 6 w 151"/>
                <a:gd name="T43" fmla="*/ 92 h 126"/>
                <a:gd name="T44" fmla="*/ 2 w 151"/>
                <a:gd name="T45" fmla="*/ 85 h 126"/>
                <a:gd name="T46" fmla="*/ 3 w 151"/>
                <a:gd name="T47" fmla="*/ 81 h 126"/>
                <a:gd name="T48" fmla="*/ 0 w 151"/>
                <a:gd name="T49" fmla="*/ 52 h 126"/>
                <a:gd name="T50" fmla="*/ 0 w 151"/>
                <a:gd name="T51" fmla="*/ 18 h 126"/>
                <a:gd name="T52" fmla="*/ 2 w 151"/>
                <a:gd name="T53" fmla="*/ 9 h 126"/>
                <a:gd name="T54" fmla="*/ 6 w 151"/>
                <a:gd name="T55" fmla="*/ 4 h 126"/>
                <a:gd name="T56" fmla="*/ 17 w 151"/>
                <a:gd name="T57" fmla="*/ 3 h 126"/>
                <a:gd name="T58" fmla="*/ 43 w 151"/>
                <a:gd name="T59" fmla="*/ 3 h 126"/>
                <a:gd name="T60" fmla="*/ 61 w 151"/>
                <a:gd name="T61" fmla="*/ 2 h 126"/>
                <a:gd name="T62" fmla="*/ 84 w 151"/>
                <a:gd name="T63" fmla="*/ 3 h 126"/>
                <a:gd name="T64" fmla="*/ 118 w 151"/>
                <a:gd name="T65" fmla="*/ 1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1" h="126">
                  <a:moveTo>
                    <a:pt x="118" y="0"/>
                  </a:moveTo>
                  <a:cubicBezTo>
                    <a:pt x="123" y="2"/>
                    <a:pt x="127" y="1"/>
                    <a:pt x="132" y="3"/>
                  </a:cubicBezTo>
                  <a:cubicBezTo>
                    <a:pt x="132" y="1"/>
                    <a:pt x="136" y="6"/>
                    <a:pt x="137" y="3"/>
                  </a:cubicBezTo>
                  <a:cubicBezTo>
                    <a:pt x="144" y="5"/>
                    <a:pt x="146" y="14"/>
                    <a:pt x="148" y="18"/>
                  </a:cubicBezTo>
                  <a:cubicBezTo>
                    <a:pt x="147" y="21"/>
                    <a:pt x="148" y="23"/>
                    <a:pt x="148" y="25"/>
                  </a:cubicBezTo>
                  <a:cubicBezTo>
                    <a:pt x="148" y="26"/>
                    <a:pt x="149" y="25"/>
                    <a:pt x="149" y="26"/>
                  </a:cubicBezTo>
                  <a:cubicBezTo>
                    <a:pt x="151" y="28"/>
                    <a:pt x="149" y="29"/>
                    <a:pt x="148" y="32"/>
                  </a:cubicBezTo>
                  <a:cubicBezTo>
                    <a:pt x="149" y="35"/>
                    <a:pt x="149" y="38"/>
                    <a:pt x="148" y="41"/>
                  </a:cubicBezTo>
                  <a:cubicBezTo>
                    <a:pt x="150" y="43"/>
                    <a:pt x="151" y="44"/>
                    <a:pt x="148" y="46"/>
                  </a:cubicBezTo>
                  <a:cubicBezTo>
                    <a:pt x="148" y="48"/>
                    <a:pt x="148" y="52"/>
                    <a:pt x="149" y="53"/>
                  </a:cubicBezTo>
                  <a:cubicBezTo>
                    <a:pt x="147" y="59"/>
                    <a:pt x="148" y="65"/>
                    <a:pt x="147" y="73"/>
                  </a:cubicBezTo>
                  <a:cubicBezTo>
                    <a:pt x="147" y="73"/>
                    <a:pt x="146" y="73"/>
                    <a:pt x="146" y="73"/>
                  </a:cubicBezTo>
                  <a:cubicBezTo>
                    <a:pt x="146" y="73"/>
                    <a:pt x="147" y="74"/>
                    <a:pt x="147" y="74"/>
                  </a:cubicBezTo>
                  <a:cubicBezTo>
                    <a:pt x="147" y="74"/>
                    <a:pt x="147" y="74"/>
                    <a:pt x="147" y="73"/>
                  </a:cubicBezTo>
                  <a:cubicBezTo>
                    <a:pt x="148" y="74"/>
                    <a:pt x="148" y="78"/>
                    <a:pt x="146" y="77"/>
                  </a:cubicBezTo>
                  <a:cubicBezTo>
                    <a:pt x="146" y="77"/>
                    <a:pt x="146" y="78"/>
                    <a:pt x="146" y="78"/>
                  </a:cubicBezTo>
                  <a:cubicBezTo>
                    <a:pt x="146" y="79"/>
                    <a:pt x="147" y="78"/>
                    <a:pt x="148" y="79"/>
                  </a:cubicBezTo>
                  <a:cubicBezTo>
                    <a:pt x="147" y="79"/>
                    <a:pt x="148" y="81"/>
                    <a:pt x="148" y="82"/>
                  </a:cubicBezTo>
                  <a:cubicBezTo>
                    <a:pt x="144" y="84"/>
                    <a:pt x="146" y="88"/>
                    <a:pt x="143" y="88"/>
                  </a:cubicBezTo>
                  <a:cubicBezTo>
                    <a:pt x="144" y="89"/>
                    <a:pt x="142" y="90"/>
                    <a:pt x="144" y="90"/>
                  </a:cubicBezTo>
                  <a:cubicBezTo>
                    <a:pt x="142" y="92"/>
                    <a:pt x="141" y="94"/>
                    <a:pt x="139" y="95"/>
                  </a:cubicBezTo>
                  <a:cubicBezTo>
                    <a:pt x="135" y="97"/>
                    <a:pt x="132" y="96"/>
                    <a:pt x="128" y="97"/>
                  </a:cubicBezTo>
                  <a:cubicBezTo>
                    <a:pt x="127" y="97"/>
                    <a:pt x="126" y="96"/>
                    <a:pt x="125" y="96"/>
                  </a:cubicBezTo>
                  <a:cubicBezTo>
                    <a:pt x="123" y="97"/>
                    <a:pt x="123" y="98"/>
                    <a:pt x="121" y="98"/>
                  </a:cubicBezTo>
                  <a:cubicBezTo>
                    <a:pt x="119" y="96"/>
                    <a:pt x="116" y="95"/>
                    <a:pt x="113" y="97"/>
                  </a:cubicBezTo>
                  <a:cubicBezTo>
                    <a:pt x="110" y="94"/>
                    <a:pt x="103" y="95"/>
                    <a:pt x="100" y="98"/>
                  </a:cubicBezTo>
                  <a:cubicBezTo>
                    <a:pt x="98" y="97"/>
                    <a:pt x="97" y="96"/>
                    <a:pt x="95" y="95"/>
                  </a:cubicBezTo>
                  <a:cubicBezTo>
                    <a:pt x="95" y="95"/>
                    <a:pt x="95" y="96"/>
                    <a:pt x="94" y="96"/>
                  </a:cubicBezTo>
                  <a:cubicBezTo>
                    <a:pt x="93" y="97"/>
                    <a:pt x="90" y="96"/>
                    <a:pt x="90" y="98"/>
                  </a:cubicBezTo>
                  <a:cubicBezTo>
                    <a:pt x="86" y="98"/>
                    <a:pt x="83" y="103"/>
                    <a:pt x="80" y="103"/>
                  </a:cubicBezTo>
                  <a:cubicBezTo>
                    <a:pt x="78" y="105"/>
                    <a:pt x="74" y="106"/>
                    <a:pt x="73" y="109"/>
                  </a:cubicBezTo>
                  <a:cubicBezTo>
                    <a:pt x="72" y="108"/>
                    <a:pt x="72" y="109"/>
                    <a:pt x="71" y="109"/>
                  </a:cubicBezTo>
                  <a:cubicBezTo>
                    <a:pt x="66" y="115"/>
                    <a:pt x="56" y="117"/>
                    <a:pt x="51" y="125"/>
                  </a:cubicBezTo>
                  <a:cubicBezTo>
                    <a:pt x="50" y="124"/>
                    <a:pt x="47" y="126"/>
                    <a:pt x="45" y="125"/>
                  </a:cubicBezTo>
                  <a:cubicBezTo>
                    <a:pt x="45" y="124"/>
                    <a:pt x="46" y="123"/>
                    <a:pt x="47" y="121"/>
                  </a:cubicBezTo>
                  <a:cubicBezTo>
                    <a:pt x="47" y="122"/>
                    <a:pt x="46" y="122"/>
                    <a:pt x="47" y="122"/>
                  </a:cubicBezTo>
                  <a:cubicBezTo>
                    <a:pt x="48" y="121"/>
                    <a:pt x="47" y="117"/>
                    <a:pt x="49" y="118"/>
                  </a:cubicBezTo>
                  <a:cubicBezTo>
                    <a:pt x="49" y="115"/>
                    <a:pt x="52" y="112"/>
                    <a:pt x="52" y="108"/>
                  </a:cubicBezTo>
                  <a:cubicBezTo>
                    <a:pt x="55" y="105"/>
                    <a:pt x="55" y="103"/>
                    <a:pt x="57" y="99"/>
                  </a:cubicBezTo>
                  <a:cubicBezTo>
                    <a:pt x="56" y="99"/>
                    <a:pt x="56" y="99"/>
                    <a:pt x="55" y="99"/>
                  </a:cubicBezTo>
                  <a:cubicBezTo>
                    <a:pt x="53" y="96"/>
                    <a:pt x="44" y="95"/>
                    <a:pt x="40" y="98"/>
                  </a:cubicBezTo>
                  <a:cubicBezTo>
                    <a:pt x="38" y="96"/>
                    <a:pt x="33" y="98"/>
                    <a:pt x="31" y="96"/>
                  </a:cubicBezTo>
                  <a:cubicBezTo>
                    <a:pt x="27" y="98"/>
                    <a:pt x="20" y="96"/>
                    <a:pt x="17" y="98"/>
                  </a:cubicBezTo>
                  <a:cubicBezTo>
                    <a:pt x="14" y="95"/>
                    <a:pt x="10" y="96"/>
                    <a:pt x="6" y="92"/>
                  </a:cubicBezTo>
                  <a:cubicBezTo>
                    <a:pt x="6" y="90"/>
                    <a:pt x="6" y="90"/>
                    <a:pt x="4" y="89"/>
                  </a:cubicBezTo>
                  <a:cubicBezTo>
                    <a:pt x="6" y="88"/>
                    <a:pt x="4" y="86"/>
                    <a:pt x="2" y="85"/>
                  </a:cubicBezTo>
                  <a:cubicBezTo>
                    <a:pt x="3" y="84"/>
                    <a:pt x="2" y="82"/>
                    <a:pt x="2" y="81"/>
                  </a:cubicBezTo>
                  <a:cubicBezTo>
                    <a:pt x="3" y="82"/>
                    <a:pt x="2" y="80"/>
                    <a:pt x="3" y="81"/>
                  </a:cubicBezTo>
                  <a:cubicBezTo>
                    <a:pt x="1" y="73"/>
                    <a:pt x="2" y="64"/>
                    <a:pt x="1" y="54"/>
                  </a:cubicBezTo>
                  <a:cubicBezTo>
                    <a:pt x="1" y="53"/>
                    <a:pt x="1" y="53"/>
                    <a:pt x="0" y="52"/>
                  </a:cubicBezTo>
                  <a:cubicBezTo>
                    <a:pt x="0" y="52"/>
                    <a:pt x="1" y="52"/>
                    <a:pt x="1" y="52"/>
                  </a:cubicBezTo>
                  <a:cubicBezTo>
                    <a:pt x="2" y="38"/>
                    <a:pt x="0" y="31"/>
                    <a:pt x="0" y="18"/>
                  </a:cubicBezTo>
                  <a:cubicBezTo>
                    <a:pt x="0" y="18"/>
                    <a:pt x="1" y="17"/>
                    <a:pt x="0" y="17"/>
                  </a:cubicBezTo>
                  <a:cubicBezTo>
                    <a:pt x="0" y="15"/>
                    <a:pt x="2" y="12"/>
                    <a:pt x="2" y="9"/>
                  </a:cubicBezTo>
                  <a:cubicBezTo>
                    <a:pt x="3" y="7"/>
                    <a:pt x="4" y="5"/>
                    <a:pt x="6" y="5"/>
                  </a:cubicBezTo>
                  <a:cubicBezTo>
                    <a:pt x="6" y="5"/>
                    <a:pt x="6" y="4"/>
                    <a:pt x="6" y="4"/>
                  </a:cubicBezTo>
                  <a:cubicBezTo>
                    <a:pt x="10" y="3"/>
                    <a:pt x="16" y="4"/>
                    <a:pt x="17" y="2"/>
                  </a:cubicBezTo>
                  <a:cubicBezTo>
                    <a:pt x="18" y="2"/>
                    <a:pt x="17" y="2"/>
                    <a:pt x="17" y="3"/>
                  </a:cubicBezTo>
                  <a:cubicBezTo>
                    <a:pt x="18" y="2"/>
                    <a:pt x="19" y="1"/>
                    <a:pt x="20" y="3"/>
                  </a:cubicBezTo>
                  <a:cubicBezTo>
                    <a:pt x="29" y="2"/>
                    <a:pt x="35" y="1"/>
                    <a:pt x="43" y="3"/>
                  </a:cubicBezTo>
                  <a:cubicBezTo>
                    <a:pt x="44" y="1"/>
                    <a:pt x="47" y="2"/>
                    <a:pt x="47" y="1"/>
                  </a:cubicBezTo>
                  <a:cubicBezTo>
                    <a:pt x="51" y="2"/>
                    <a:pt x="59" y="2"/>
                    <a:pt x="61" y="2"/>
                  </a:cubicBezTo>
                  <a:cubicBezTo>
                    <a:pt x="68" y="4"/>
                    <a:pt x="78" y="2"/>
                    <a:pt x="84" y="3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8" y="2"/>
                    <a:pt x="91" y="4"/>
                    <a:pt x="95" y="2"/>
                  </a:cubicBezTo>
                  <a:cubicBezTo>
                    <a:pt x="101" y="2"/>
                    <a:pt x="112" y="1"/>
                    <a:pt x="118" y="1"/>
                  </a:cubicBezTo>
                  <a:cubicBezTo>
                    <a:pt x="118" y="1"/>
                    <a:pt x="118" y="1"/>
                    <a:pt x="118" y="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200" dirty="0">
                <a:solidFill>
                  <a:schemeClr val="bg1"/>
                </a:solidFill>
              </a:endParaRPr>
            </a:p>
            <a:p>
              <a:pPr algn="ctr"/>
              <a:r>
                <a:rPr lang="en-US" dirty="0">
                  <a:solidFill>
                    <a:schemeClr val="bg1"/>
                  </a:solidFill>
                </a:rPr>
                <a:t>jump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136F9813-6724-6985-E1C9-EE1CE4370CAE}"/>
                </a:ext>
              </a:extLst>
            </p:cNvPr>
            <p:cNvSpPr/>
            <p:nvPr/>
          </p:nvSpPr>
          <p:spPr>
            <a:xfrm>
              <a:off x="854046" y="938686"/>
              <a:ext cx="2838853" cy="330494"/>
            </a:xfrm>
            <a:prstGeom prst="rect">
              <a:avLst/>
            </a:prstGeom>
          </p:spPr>
          <p:txBody>
            <a:bodyPr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62969288-E78B-7E89-ABB5-CC70843DDCE3}"/>
              </a:ext>
            </a:extLst>
          </p:cNvPr>
          <p:cNvGrpSpPr/>
          <p:nvPr/>
        </p:nvGrpSpPr>
        <p:grpSpPr>
          <a:xfrm>
            <a:off x="2435877" y="5763258"/>
            <a:ext cx="1291131" cy="1354093"/>
            <a:chOff x="717409" y="-556248"/>
            <a:chExt cx="2975490" cy="1825428"/>
          </a:xfrm>
        </p:grpSpPr>
        <p:sp>
          <p:nvSpPr>
            <p:cNvPr id="61" name="Freeform 97">
              <a:extLst>
                <a:ext uri="{FF2B5EF4-FFF2-40B4-BE49-F238E27FC236}">
                  <a16:creationId xmlns:a16="http://schemas.microsoft.com/office/drawing/2014/main" id="{5376FF3D-DBA9-ED16-B7D0-2DF9DAEC793E}"/>
                </a:ext>
              </a:extLst>
            </p:cNvPr>
            <p:cNvSpPr>
              <a:spLocks noChangeAspect="1"/>
            </p:cNvSpPr>
            <p:nvPr/>
          </p:nvSpPr>
          <p:spPr bwMode="auto">
            <a:xfrm flipH="1">
              <a:off x="717409" y="-556248"/>
              <a:ext cx="2655214" cy="1181185"/>
            </a:xfrm>
            <a:custGeom>
              <a:avLst/>
              <a:gdLst>
                <a:gd name="T0" fmla="*/ 132 w 151"/>
                <a:gd name="T1" fmla="*/ 3 h 126"/>
                <a:gd name="T2" fmla="*/ 148 w 151"/>
                <a:gd name="T3" fmla="*/ 18 h 126"/>
                <a:gd name="T4" fmla="*/ 149 w 151"/>
                <a:gd name="T5" fmla="*/ 26 h 126"/>
                <a:gd name="T6" fmla="*/ 148 w 151"/>
                <a:gd name="T7" fmla="*/ 41 h 126"/>
                <a:gd name="T8" fmla="*/ 149 w 151"/>
                <a:gd name="T9" fmla="*/ 53 h 126"/>
                <a:gd name="T10" fmla="*/ 146 w 151"/>
                <a:gd name="T11" fmla="*/ 73 h 126"/>
                <a:gd name="T12" fmla="*/ 147 w 151"/>
                <a:gd name="T13" fmla="*/ 73 h 126"/>
                <a:gd name="T14" fmla="*/ 146 w 151"/>
                <a:gd name="T15" fmla="*/ 78 h 126"/>
                <a:gd name="T16" fmla="*/ 148 w 151"/>
                <a:gd name="T17" fmla="*/ 82 h 126"/>
                <a:gd name="T18" fmla="*/ 144 w 151"/>
                <a:gd name="T19" fmla="*/ 90 h 126"/>
                <a:gd name="T20" fmla="*/ 128 w 151"/>
                <a:gd name="T21" fmla="*/ 97 h 126"/>
                <a:gd name="T22" fmla="*/ 121 w 151"/>
                <a:gd name="T23" fmla="*/ 98 h 126"/>
                <a:gd name="T24" fmla="*/ 100 w 151"/>
                <a:gd name="T25" fmla="*/ 98 h 126"/>
                <a:gd name="T26" fmla="*/ 94 w 151"/>
                <a:gd name="T27" fmla="*/ 96 h 126"/>
                <a:gd name="T28" fmla="*/ 80 w 151"/>
                <a:gd name="T29" fmla="*/ 103 h 126"/>
                <a:gd name="T30" fmla="*/ 71 w 151"/>
                <a:gd name="T31" fmla="*/ 109 h 126"/>
                <a:gd name="T32" fmla="*/ 45 w 151"/>
                <a:gd name="T33" fmla="*/ 125 h 126"/>
                <a:gd name="T34" fmla="*/ 47 w 151"/>
                <a:gd name="T35" fmla="*/ 122 h 126"/>
                <a:gd name="T36" fmla="*/ 52 w 151"/>
                <a:gd name="T37" fmla="*/ 108 h 126"/>
                <a:gd name="T38" fmla="*/ 55 w 151"/>
                <a:gd name="T39" fmla="*/ 99 h 126"/>
                <a:gd name="T40" fmla="*/ 31 w 151"/>
                <a:gd name="T41" fmla="*/ 96 h 126"/>
                <a:gd name="T42" fmla="*/ 6 w 151"/>
                <a:gd name="T43" fmla="*/ 92 h 126"/>
                <a:gd name="T44" fmla="*/ 2 w 151"/>
                <a:gd name="T45" fmla="*/ 85 h 126"/>
                <a:gd name="T46" fmla="*/ 3 w 151"/>
                <a:gd name="T47" fmla="*/ 81 h 126"/>
                <a:gd name="T48" fmla="*/ 0 w 151"/>
                <a:gd name="T49" fmla="*/ 52 h 126"/>
                <a:gd name="T50" fmla="*/ 0 w 151"/>
                <a:gd name="T51" fmla="*/ 18 h 126"/>
                <a:gd name="T52" fmla="*/ 2 w 151"/>
                <a:gd name="T53" fmla="*/ 9 h 126"/>
                <a:gd name="T54" fmla="*/ 6 w 151"/>
                <a:gd name="T55" fmla="*/ 4 h 126"/>
                <a:gd name="T56" fmla="*/ 17 w 151"/>
                <a:gd name="T57" fmla="*/ 3 h 126"/>
                <a:gd name="T58" fmla="*/ 43 w 151"/>
                <a:gd name="T59" fmla="*/ 3 h 126"/>
                <a:gd name="T60" fmla="*/ 61 w 151"/>
                <a:gd name="T61" fmla="*/ 2 h 126"/>
                <a:gd name="T62" fmla="*/ 84 w 151"/>
                <a:gd name="T63" fmla="*/ 3 h 126"/>
                <a:gd name="T64" fmla="*/ 118 w 151"/>
                <a:gd name="T65" fmla="*/ 1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1" h="126">
                  <a:moveTo>
                    <a:pt x="118" y="0"/>
                  </a:moveTo>
                  <a:cubicBezTo>
                    <a:pt x="123" y="2"/>
                    <a:pt x="127" y="1"/>
                    <a:pt x="132" y="3"/>
                  </a:cubicBezTo>
                  <a:cubicBezTo>
                    <a:pt x="132" y="1"/>
                    <a:pt x="136" y="6"/>
                    <a:pt x="137" y="3"/>
                  </a:cubicBezTo>
                  <a:cubicBezTo>
                    <a:pt x="144" y="5"/>
                    <a:pt x="146" y="14"/>
                    <a:pt x="148" y="18"/>
                  </a:cubicBezTo>
                  <a:cubicBezTo>
                    <a:pt x="147" y="21"/>
                    <a:pt x="148" y="23"/>
                    <a:pt x="148" y="25"/>
                  </a:cubicBezTo>
                  <a:cubicBezTo>
                    <a:pt x="148" y="26"/>
                    <a:pt x="149" y="25"/>
                    <a:pt x="149" y="26"/>
                  </a:cubicBezTo>
                  <a:cubicBezTo>
                    <a:pt x="151" y="28"/>
                    <a:pt x="149" y="29"/>
                    <a:pt x="148" y="32"/>
                  </a:cubicBezTo>
                  <a:cubicBezTo>
                    <a:pt x="149" y="35"/>
                    <a:pt x="149" y="38"/>
                    <a:pt x="148" y="41"/>
                  </a:cubicBezTo>
                  <a:cubicBezTo>
                    <a:pt x="150" y="43"/>
                    <a:pt x="151" y="44"/>
                    <a:pt x="148" y="46"/>
                  </a:cubicBezTo>
                  <a:cubicBezTo>
                    <a:pt x="148" y="48"/>
                    <a:pt x="148" y="52"/>
                    <a:pt x="149" y="53"/>
                  </a:cubicBezTo>
                  <a:cubicBezTo>
                    <a:pt x="147" y="59"/>
                    <a:pt x="148" y="65"/>
                    <a:pt x="147" y="73"/>
                  </a:cubicBezTo>
                  <a:cubicBezTo>
                    <a:pt x="147" y="73"/>
                    <a:pt x="146" y="73"/>
                    <a:pt x="146" y="73"/>
                  </a:cubicBezTo>
                  <a:cubicBezTo>
                    <a:pt x="146" y="73"/>
                    <a:pt x="147" y="74"/>
                    <a:pt x="147" y="74"/>
                  </a:cubicBezTo>
                  <a:cubicBezTo>
                    <a:pt x="147" y="74"/>
                    <a:pt x="147" y="74"/>
                    <a:pt x="147" y="73"/>
                  </a:cubicBezTo>
                  <a:cubicBezTo>
                    <a:pt x="148" y="74"/>
                    <a:pt x="148" y="78"/>
                    <a:pt x="146" y="77"/>
                  </a:cubicBezTo>
                  <a:cubicBezTo>
                    <a:pt x="146" y="77"/>
                    <a:pt x="146" y="78"/>
                    <a:pt x="146" y="78"/>
                  </a:cubicBezTo>
                  <a:cubicBezTo>
                    <a:pt x="146" y="79"/>
                    <a:pt x="147" y="78"/>
                    <a:pt x="148" y="79"/>
                  </a:cubicBezTo>
                  <a:cubicBezTo>
                    <a:pt x="147" y="79"/>
                    <a:pt x="148" y="81"/>
                    <a:pt x="148" y="82"/>
                  </a:cubicBezTo>
                  <a:cubicBezTo>
                    <a:pt x="144" y="84"/>
                    <a:pt x="146" y="88"/>
                    <a:pt x="143" y="88"/>
                  </a:cubicBezTo>
                  <a:cubicBezTo>
                    <a:pt x="144" y="89"/>
                    <a:pt x="142" y="90"/>
                    <a:pt x="144" y="90"/>
                  </a:cubicBezTo>
                  <a:cubicBezTo>
                    <a:pt x="142" y="92"/>
                    <a:pt x="141" y="94"/>
                    <a:pt x="139" y="95"/>
                  </a:cubicBezTo>
                  <a:cubicBezTo>
                    <a:pt x="135" y="97"/>
                    <a:pt x="132" y="96"/>
                    <a:pt x="128" y="97"/>
                  </a:cubicBezTo>
                  <a:cubicBezTo>
                    <a:pt x="127" y="97"/>
                    <a:pt x="126" y="96"/>
                    <a:pt x="125" y="96"/>
                  </a:cubicBezTo>
                  <a:cubicBezTo>
                    <a:pt x="123" y="97"/>
                    <a:pt x="123" y="98"/>
                    <a:pt x="121" y="98"/>
                  </a:cubicBezTo>
                  <a:cubicBezTo>
                    <a:pt x="119" y="96"/>
                    <a:pt x="116" y="95"/>
                    <a:pt x="113" y="97"/>
                  </a:cubicBezTo>
                  <a:cubicBezTo>
                    <a:pt x="110" y="94"/>
                    <a:pt x="103" y="95"/>
                    <a:pt x="100" y="98"/>
                  </a:cubicBezTo>
                  <a:cubicBezTo>
                    <a:pt x="98" y="97"/>
                    <a:pt x="97" y="96"/>
                    <a:pt x="95" y="95"/>
                  </a:cubicBezTo>
                  <a:cubicBezTo>
                    <a:pt x="95" y="95"/>
                    <a:pt x="95" y="96"/>
                    <a:pt x="94" y="96"/>
                  </a:cubicBezTo>
                  <a:cubicBezTo>
                    <a:pt x="93" y="97"/>
                    <a:pt x="90" y="96"/>
                    <a:pt x="90" y="98"/>
                  </a:cubicBezTo>
                  <a:cubicBezTo>
                    <a:pt x="86" y="98"/>
                    <a:pt x="83" y="103"/>
                    <a:pt x="80" y="103"/>
                  </a:cubicBezTo>
                  <a:cubicBezTo>
                    <a:pt x="78" y="105"/>
                    <a:pt x="74" y="106"/>
                    <a:pt x="73" y="109"/>
                  </a:cubicBezTo>
                  <a:cubicBezTo>
                    <a:pt x="72" y="108"/>
                    <a:pt x="72" y="109"/>
                    <a:pt x="71" y="109"/>
                  </a:cubicBezTo>
                  <a:cubicBezTo>
                    <a:pt x="66" y="115"/>
                    <a:pt x="56" y="117"/>
                    <a:pt x="51" y="125"/>
                  </a:cubicBezTo>
                  <a:cubicBezTo>
                    <a:pt x="50" y="124"/>
                    <a:pt x="47" y="126"/>
                    <a:pt x="45" y="125"/>
                  </a:cubicBezTo>
                  <a:cubicBezTo>
                    <a:pt x="45" y="124"/>
                    <a:pt x="46" y="123"/>
                    <a:pt x="47" y="121"/>
                  </a:cubicBezTo>
                  <a:cubicBezTo>
                    <a:pt x="47" y="122"/>
                    <a:pt x="46" y="122"/>
                    <a:pt x="47" y="122"/>
                  </a:cubicBezTo>
                  <a:cubicBezTo>
                    <a:pt x="48" y="121"/>
                    <a:pt x="47" y="117"/>
                    <a:pt x="49" y="118"/>
                  </a:cubicBezTo>
                  <a:cubicBezTo>
                    <a:pt x="49" y="115"/>
                    <a:pt x="52" y="112"/>
                    <a:pt x="52" y="108"/>
                  </a:cubicBezTo>
                  <a:cubicBezTo>
                    <a:pt x="55" y="105"/>
                    <a:pt x="55" y="103"/>
                    <a:pt x="57" y="99"/>
                  </a:cubicBezTo>
                  <a:cubicBezTo>
                    <a:pt x="56" y="99"/>
                    <a:pt x="56" y="99"/>
                    <a:pt x="55" y="99"/>
                  </a:cubicBezTo>
                  <a:cubicBezTo>
                    <a:pt x="53" y="96"/>
                    <a:pt x="44" y="95"/>
                    <a:pt x="40" y="98"/>
                  </a:cubicBezTo>
                  <a:cubicBezTo>
                    <a:pt x="38" y="96"/>
                    <a:pt x="33" y="98"/>
                    <a:pt x="31" y="96"/>
                  </a:cubicBezTo>
                  <a:cubicBezTo>
                    <a:pt x="27" y="98"/>
                    <a:pt x="20" y="96"/>
                    <a:pt x="17" y="98"/>
                  </a:cubicBezTo>
                  <a:cubicBezTo>
                    <a:pt x="14" y="95"/>
                    <a:pt x="10" y="96"/>
                    <a:pt x="6" y="92"/>
                  </a:cubicBezTo>
                  <a:cubicBezTo>
                    <a:pt x="6" y="90"/>
                    <a:pt x="6" y="90"/>
                    <a:pt x="4" y="89"/>
                  </a:cubicBezTo>
                  <a:cubicBezTo>
                    <a:pt x="6" y="88"/>
                    <a:pt x="4" y="86"/>
                    <a:pt x="2" y="85"/>
                  </a:cubicBezTo>
                  <a:cubicBezTo>
                    <a:pt x="3" y="84"/>
                    <a:pt x="2" y="82"/>
                    <a:pt x="2" y="81"/>
                  </a:cubicBezTo>
                  <a:cubicBezTo>
                    <a:pt x="3" y="82"/>
                    <a:pt x="2" y="80"/>
                    <a:pt x="3" y="81"/>
                  </a:cubicBezTo>
                  <a:cubicBezTo>
                    <a:pt x="1" y="73"/>
                    <a:pt x="2" y="64"/>
                    <a:pt x="1" y="54"/>
                  </a:cubicBezTo>
                  <a:cubicBezTo>
                    <a:pt x="1" y="53"/>
                    <a:pt x="1" y="53"/>
                    <a:pt x="0" y="52"/>
                  </a:cubicBezTo>
                  <a:cubicBezTo>
                    <a:pt x="0" y="52"/>
                    <a:pt x="1" y="52"/>
                    <a:pt x="1" y="52"/>
                  </a:cubicBezTo>
                  <a:cubicBezTo>
                    <a:pt x="2" y="38"/>
                    <a:pt x="0" y="31"/>
                    <a:pt x="0" y="18"/>
                  </a:cubicBezTo>
                  <a:cubicBezTo>
                    <a:pt x="0" y="18"/>
                    <a:pt x="1" y="17"/>
                    <a:pt x="0" y="17"/>
                  </a:cubicBezTo>
                  <a:cubicBezTo>
                    <a:pt x="0" y="15"/>
                    <a:pt x="2" y="12"/>
                    <a:pt x="2" y="9"/>
                  </a:cubicBezTo>
                  <a:cubicBezTo>
                    <a:pt x="3" y="7"/>
                    <a:pt x="4" y="5"/>
                    <a:pt x="6" y="5"/>
                  </a:cubicBezTo>
                  <a:cubicBezTo>
                    <a:pt x="6" y="5"/>
                    <a:pt x="6" y="4"/>
                    <a:pt x="6" y="4"/>
                  </a:cubicBezTo>
                  <a:cubicBezTo>
                    <a:pt x="10" y="3"/>
                    <a:pt x="16" y="4"/>
                    <a:pt x="17" y="2"/>
                  </a:cubicBezTo>
                  <a:cubicBezTo>
                    <a:pt x="18" y="2"/>
                    <a:pt x="17" y="2"/>
                    <a:pt x="17" y="3"/>
                  </a:cubicBezTo>
                  <a:cubicBezTo>
                    <a:pt x="18" y="2"/>
                    <a:pt x="19" y="1"/>
                    <a:pt x="20" y="3"/>
                  </a:cubicBezTo>
                  <a:cubicBezTo>
                    <a:pt x="29" y="2"/>
                    <a:pt x="35" y="1"/>
                    <a:pt x="43" y="3"/>
                  </a:cubicBezTo>
                  <a:cubicBezTo>
                    <a:pt x="44" y="1"/>
                    <a:pt x="47" y="2"/>
                    <a:pt x="47" y="1"/>
                  </a:cubicBezTo>
                  <a:cubicBezTo>
                    <a:pt x="51" y="2"/>
                    <a:pt x="59" y="2"/>
                    <a:pt x="61" y="2"/>
                  </a:cubicBezTo>
                  <a:cubicBezTo>
                    <a:pt x="68" y="4"/>
                    <a:pt x="78" y="2"/>
                    <a:pt x="84" y="3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8" y="2"/>
                    <a:pt x="91" y="4"/>
                    <a:pt x="95" y="2"/>
                  </a:cubicBezTo>
                  <a:cubicBezTo>
                    <a:pt x="101" y="2"/>
                    <a:pt x="112" y="1"/>
                    <a:pt x="118" y="1"/>
                  </a:cubicBezTo>
                  <a:cubicBezTo>
                    <a:pt x="118" y="1"/>
                    <a:pt x="118" y="1"/>
                    <a:pt x="118" y="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200" dirty="0">
                <a:solidFill>
                  <a:schemeClr val="bg1"/>
                </a:solidFill>
              </a:endParaRPr>
            </a:p>
            <a:p>
              <a:pPr algn="ctr"/>
              <a:r>
                <a:rPr lang="en-US" dirty="0">
                  <a:solidFill>
                    <a:schemeClr val="bg1"/>
                  </a:solidFill>
                </a:rPr>
                <a:t>turn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06ED4B30-C09E-1966-D40E-C6AFA3129DDC}"/>
                </a:ext>
              </a:extLst>
            </p:cNvPr>
            <p:cNvSpPr/>
            <p:nvPr/>
          </p:nvSpPr>
          <p:spPr>
            <a:xfrm>
              <a:off x="854046" y="938686"/>
              <a:ext cx="2838853" cy="330494"/>
            </a:xfrm>
            <a:prstGeom prst="rect">
              <a:avLst/>
            </a:prstGeom>
          </p:spPr>
          <p:txBody>
            <a:bodyPr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sp>
        <p:nvSpPr>
          <p:cNvPr id="95" name="Freeform 91">
            <a:extLst>
              <a:ext uri="{FF2B5EF4-FFF2-40B4-BE49-F238E27FC236}">
                <a16:creationId xmlns:a16="http://schemas.microsoft.com/office/drawing/2014/main" id="{EC20700A-75FA-EB6E-84CF-7F6B3E2E562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068896" y="3360262"/>
            <a:ext cx="1419765" cy="1081843"/>
          </a:xfrm>
          <a:custGeom>
            <a:avLst/>
            <a:gdLst>
              <a:gd name="T0" fmla="*/ 171 w 211"/>
              <a:gd name="T1" fmla="*/ 3 h 190"/>
              <a:gd name="T2" fmla="*/ 194 w 211"/>
              <a:gd name="T3" fmla="*/ 6 h 190"/>
              <a:gd name="T4" fmla="*/ 207 w 211"/>
              <a:gd name="T5" fmla="*/ 22 h 190"/>
              <a:gd name="T6" fmla="*/ 208 w 211"/>
              <a:gd name="T7" fmla="*/ 42 h 190"/>
              <a:gd name="T8" fmla="*/ 209 w 211"/>
              <a:gd name="T9" fmla="*/ 65 h 190"/>
              <a:gd name="T10" fmla="*/ 209 w 211"/>
              <a:gd name="T11" fmla="*/ 83 h 190"/>
              <a:gd name="T12" fmla="*/ 210 w 211"/>
              <a:gd name="T13" fmla="*/ 102 h 190"/>
              <a:gd name="T14" fmla="*/ 208 w 211"/>
              <a:gd name="T15" fmla="*/ 114 h 190"/>
              <a:gd name="T16" fmla="*/ 209 w 211"/>
              <a:gd name="T17" fmla="*/ 134 h 190"/>
              <a:gd name="T18" fmla="*/ 196 w 211"/>
              <a:gd name="T19" fmla="*/ 151 h 190"/>
              <a:gd name="T20" fmla="*/ 167 w 211"/>
              <a:gd name="T21" fmla="*/ 153 h 190"/>
              <a:gd name="T22" fmla="*/ 147 w 211"/>
              <a:gd name="T23" fmla="*/ 161 h 190"/>
              <a:gd name="T24" fmla="*/ 156 w 211"/>
              <a:gd name="T25" fmla="*/ 180 h 190"/>
              <a:gd name="T26" fmla="*/ 148 w 211"/>
              <a:gd name="T27" fmla="*/ 183 h 190"/>
              <a:gd name="T28" fmla="*/ 121 w 211"/>
              <a:gd name="T29" fmla="*/ 165 h 190"/>
              <a:gd name="T30" fmla="*/ 84 w 211"/>
              <a:gd name="T31" fmla="*/ 156 h 190"/>
              <a:gd name="T32" fmla="*/ 69 w 211"/>
              <a:gd name="T33" fmla="*/ 152 h 190"/>
              <a:gd name="T34" fmla="*/ 11 w 211"/>
              <a:gd name="T35" fmla="*/ 151 h 190"/>
              <a:gd name="T36" fmla="*/ 2 w 211"/>
              <a:gd name="T37" fmla="*/ 124 h 190"/>
              <a:gd name="T38" fmla="*/ 2 w 211"/>
              <a:gd name="T39" fmla="*/ 108 h 190"/>
              <a:gd name="T40" fmla="*/ 2 w 211"/>
              <a:gd name="T41" fmla="*/ 99 h 190"/>
              <a:gd name="T42" fmla="*/ 3 w 211"/>
              <a:gd name="T43" fmla="*/ 93 h 190"/>
              <a:gd name="T44" fmla="*/ 3 w 211"/>
              <a:gd name="T45" fmla="*/ 75 h 190"/>
              <a:gd name="T46" fmla="*/ 4 w 211"/>
              <a:gd name="T47" fmla="*/ 69 h 190"/>
              <a:gd name="T48" fmla="*/ 4 w 211"/>
              <a:gd name="T49" fmla="*/ 50 h 190"/>
              <a:gd name="T50" fmla="*/ 5 w 211"/>
              <a:gd name="T51" fmla="*/ 30 h 190"/>
              <a:gd name="T52" fmla="*/ 6 w 211"/>
              <a:gd name="T53" fmla="*/ 16 h 190"/>
              <a:gd name="T54" fmla="*/ 10 w 211"/>
              <a:gd name="T55" fmla="*/ 7 h 190"/>
              <a:gd name="T56" fmla="*/ 21 w 211"/>
              <a:gd name="T57" fmla="*/ 4 h 190"/>
              <a:gd name="T58" fmla="*/ 55 w 211"/>
              <a:gd name="T59" fmla="*/ 4 h 190"/>
              <a:gd name="T60" fmla="*/ 73 w 211"/>
              <a:gd name="T61" fmla="*/ 2 h 190"/>
              <a:gd name="T62" fmla="*/ 109 w 211"/>
              <a:gd name="T63" fmla="*/ 2 h 190"/>
              <a:gd name="T64" fmla="*/ 202 w 211"/>
              <a:gd name="T65" fmla="*/ 148 h 190"/>
              <a:gd name="T66" fmla="*/ 9 w 211"/>
              <a:gd name="T67" fmla="*/ 10 h 190"/>
              <a:gd name="T68" fmla="*/ 182 w 211"/>
              <a:gd name="T69" fmla="*/ 2 h 190"/>
              <a:gd name="T70" fmla="*/ 67 w 211"/>
              <a:gd name="T71" fmla="*/ 3 h 190"/>
              <a:gd name="T72" fmla="*/ 44 w 211"/>
              <a:gd name="T73" fmla="*/ 4 h 190"/>
              <a:gd name="T74" fmla="*/ 27 w 211"/>
              <a:gd name="T75" fmla="*/ 4 h 190"/>
              <a:gd name="T76" fmla="*/ 26 w 211"/>
              <a:gd name="T77" fmla="*/ 4 h 190"/>
              <a:gd name="T78" fmla="*/ 19 w 211"/>
              <a:gd name="T79" fmla="*/ 6 h 190"/>
              <a:gd name="T80" fmla="*/ 10 w 211"/>
              <a:gd name="T81" fmla="*/ 9 h 190"/>
              <a:gd name="T82" fmla="*/ 8 w 211"/>
              <a:gd name="T83" fmla="*/ 11 h 190"/>
              <a:gd name="T84" fmla="*/ 6 w 211"/>
              <a:gd name="T85" fmla="*/ 18 h 190"/>
              <a:gd name="T86" fmla="*/ 206 w 211"/>
              <a:gd name="T87" fmla="*/ 22 h 190"/>
              <a:gd name="T88" fmla="*/ 4 w 211"/>
              <a:gd name="T89" fmla="*/ 34 h 190"/>
              <a:gd name="T90" fmla="*/ 205 w 211"/>
              <a:gd name="T91" fmla="*/ 49 h 190"/>
              <a:gd name="T92" fmla="*/ 4 w 211"/>
              <a:gd name="T93" fmla="*/ 70 h 190"/>
              <a:gd name="T94" fmla="*/ 4 w 211"/>
              <a:gd name="T95" fmla="*/ 75 h 190"/>
              <a:gd name="T96" fmla="*/ 207 w 211"/>
              <a:gd name="T97" fmla="*/ 92 h 190"/>
              <a:gd name="T98" fmla="*/ 3 w 211"/>
              <a:gd name="T99" fmla="*/ 95 h 190"/>
              <a:gd name="T100" fmla="*/ 2 w 211"/>
              <a:gd name="T101" fmla="*/ 103 h 190"/>
              <a:gd name="T102" fmla="*/ 5 w 211"/>
              <a:gd name="T103" fmla="*/ 112 h 190"/>
              <a:gd name="T104" fmla="*/ 207 w 211"/>
              <a:gd name="T105" fmla="*/ 115 h 190"/>
              <a:gd name="T106" fmla="*/ 2 w 211"/>
              <a:gd name="T107" fmla="*/ 118 h 190"/>
              <a:gd name="T108" fmla="*/ 4 w 211"/>
              <a:gd name="T109" fmla="*/ 133 h 190"/>
              <a:gd name="T110" fmla="*/ 149 w 211"/>
              <a:gd name="T111" fmla="*/ 165 h 190"/>
              <a:gd name="T112" fmla="*/ 159 w 211"/>
              <a:gd name="T113" fmla="*/ 188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11" h="190">
                <a:moveTo>
                  <a:pt x="124" y="1"/>
                </a:moveTo>
                <a:cubicBezTo>
                  <a:pt x="125" y="1"/>
                  <a:pt x="124" y="1"/>
                  <a:pt x="124" y="1"/>
                </a:cubicBezTo>
                <a:cubicBezTo>
                  <a:pt x="132" y="0"/>
                  <a:pt x="142" y="2"/>
                  <a:pt x="154" y="1"/>
                </a:cubicBezTo>
                <a:cubicBezTo>
                  <a:pt x="154" y="1"/>
                  <a:pt x="153" y="1"/>
                  <a:pt x="153" y="1"/>
                </a:cubicBezTo>
                <a:cubicBezTo>
                  <a:pt x="154" y="1"/>
                  <a:pt x="154" y="1"/>
                  <a:pt x="154" y="2"/>
                </a:cubicBezTo>
                <a:cubicBezTo>
                  <a:pt x="154" y="1"/>
                  <a:pt x="155" y="1"/>
                  <a:pt x="155" y="2"/>
                </a:cubicBezTo>
                <a:cubicBezTo>
                  <a:pt x="156" y="1"/>
                  <a:pt x="165" y="0"/>
                  <a:pt x="166" y="3"/>
                </a:cubicBezTo>
                <a:cubicBezTo>
                  <a:pt x="167" y="1"/>
                  <a:pt x="170" y="4"/>
                  <a:pt x="171" y="3"/>
                </a:cubicBezTo>
                <a:cubicBezTo>
                  <a:pt x="172" y="3"/>
                  <a:pt x="172" y="4"/>
                  <a:pt x="174" y="3"/>
                </a:cubicBezTo>
                <a:cubicBezTo>
                  <a:pt x="174" y="2"/>
                  <a:pt x="172" y="4"/>
                  <a:pt x="172" y="3"/>
                </a:cubicBezTo>
                <a:cubicBezTo>
                  <a:pt x="171" y="3"/>
                  <a:pt x="175" y="2"/>
                  <a:pt x="175" y="3"/>
                </a:cubicBezTo>
                <a:cubicBezTo>
                  <a:pt x="176" y="2"/>
                  <a:pt x="179" y="3"/>
                  <a:pt x="180" y="2"/>
                </a:cubicBezTo>
                <a:cubicBezTo>
                  <a:pt x="181" y="2"/>
                  <a:pt x="188" y="2"/>
                  <a:pt x="188" y="4"/>
                </a:cubicBezTo>
                <a:cubicBezTo>
                  <a:pt x="189" y="3"/>
                  <a:pt x="189" y="4"/>
                  <a:pt x="189" y="4"/>
                </a:cubicBezTo>
                <a:cubicBezTo>
                  <a:pt x="191" y="4"/>
                  <a:pt x="192" y="5"/>
                  <a:pt x="195" y="4"/>
                </a:cubicBezTo>
                <a:cubicBezTo>
                  <a:pt x="194" y="5"/>
                  <a:pt x="195" y="5"/>
                  <a:pt x="194" y="6"/>
                </a:cubicBezTo>
                <a:cubicBezTo>
                  <a:pt x="196" y="8"/>
                  <a:pt x="202" y="6"/>
                  <a:pt x="202" y="8"/>
                </a:cubicBezTo>
                <a:cubicBezTo>
                  <a:pt x="202" y="8"/>
                  <a:pt x="202" y="8"/>
                  <a:pt x="203" y="8"/>
                </a:cubicBezTo>
                <a:cubicBezTo>
                  <a:pt x="203" y="8"/>
                  <a:pt x="203" y="8"/>
                  <a:pt x="202" y="8"/>
                </a:cubicBezTo>
                <a:cubicBezTo>
                  <a:pt x="204" y="9"/>
                  <a:pt x="205" y="11"/>
                  <a:pt x="207" y="12"/>
                </a:cubicBezTo>
                <a:cubicBezTo>
                  <a:pt x="206" y="13"/>
                  <a:pt x="207" y="13"/>
                  <a:pt x="208" y="14"/>
                </a:cubicBezTo>
                <a:cubicBezTo>
                  <a:pt x="207" y="16"/>
                  <a:pt x="207" y="17"/>
                  <a:pt x="208" y="19"/>
                </a:cubicBezTo>
                <a:cubicBezTo>
                  <a:pt x="208" y="19"/>
                  <a:pt x="208" y="19"/>
                  <a:pt x="207" y="19"/>
                </a:cubicBezTo>
                <a:cubicBezTo>
                  <a:pt x="207" y="20"/>
                  <a:pt x="208" y="21"/>
                  <a:pt x="207" y="22"/>
                </a:cubicBezTo>
                <a:cubicBezTo>
                  <a:pt x="210" y="24"/>
                  <a:pt x="209" y="27"/>
                  <a:pt x="209" y="30"/>
                </a:cubicBezTo>
                <a:cubicBezTo>
                  <a:pt x="207" y="29"/>
                  <a:pt x="208" y="31"/>
                  <a:pt x="207" y="32"/>
                </a:cubicBezTo>
                <a:cubicBezTo>
                  <a:pt x="208" y="32"/>
                  <a:pt x="207" y="32"/>
                  <a:pt x="207" y="33"/>
                </a:cubicBezTo>
                <a:cubicBezTo>
                  <a:pt x="208" y="33"/>
                  <a:pt x="209" y="35"/>
                  <a:pt x="209" y="37"/>
                </a:cubicBezTo>
                <a:cubicBezTo>
                  <a:pt x="209" y="38"/>
                  <a:pt x="208" y="37"/>
                  <a:pt x="208" y="38"/>
                </a:cubicBezTo>
                <a:cubicBezTo>
                  <a:pt x="208" y="37"/>
                  <a:pt x="207" y="40"/>
                  <a:pt x="207" y="38"/>
                </a:cubicBezTo>
                <a:cubicBezTo>
                  <a:pt x="206" y="38"/>
                  <a:pt x="207" y="40"/>
                  <a:pt x="208" y="39"/>
                </a:cubicBezTo>
                <a:cubicBezTo>
                  <a:pt x="207" y="40"/>
                  <a:pt x="207" y="41"/>
                  <a:pt x="208" y="42"/>
                </a:cubicBezTo>
                <a:cubicBezTo>
                  <a:pt x="208" y="42"/>
                  <a:pt x="207" y="42"/>
                  <a:pt x="206" y="42"/>
                </a:cubicBezTo>
                <a:cubicBezTo>
                  <a:pt x="206" y="43"/>
                  <a:pt x="207" y="43"/>
                  <a:pt x="207" y="42"/>
                </a:cubicBezTo>
                <a:cubicBezTo>
                  <a:pt x="207" y="45"/>
                  <a:pt x="208" y="46"/>
                  <a:pt x="207" y="48"/>
                </a:cubicBezTo>
                <a:cubicBezTo>
                  <a:pt x="206" y="48"/>
                  <a:pt x="207" y="50"/>
                  <a:pt x="206" y="49"/>
                </a:cubicBezTo>
                <a:cubicBezTo>
                  <a:pt x="206" y="49"/>
                  <a:pt x="206" y="50"/>
                  <a:pt x="205" y="50"/>
                </a:cubicBezTo>
                <a:cubicBezTo>
                  <a:pt x="208" y="51"/>
                  <a:pt x="206" y="55"/>
                  <a:pt x="209" y="56"/>
                </a:cubicBezTo>
                <a:cubicBezTo>
                  <a:pt x="208" y="56"/>
                  <a:pt x="208" y="56"/>
                  <a:pt x="208" y="56"/>
                </a:cubicBezTo>
                <a:cubicBezTo>
                  <a:pt x="210" y="59"/>
                  <a:pt x="208" y="61"/>
                  <a:pt x="209" y="65"/>
                </a:cubicBezTo>
                <a:cubicBezTo>
                  <a:pt x="209" y="66"/>
                  <a:pt x="209" y="65"/>
                  <a:pt x="208" y="65"/>
                </a:cubicBezTo>
                <a:cubicBezTo>
                  <a:pt x="208" y="65"/>
                  <a:pt x="209" y="65"/>
                  <a:pt x="209" y="66"/>
                </a:cubicBezTo>
                <a:cubicBezTo>
                  <a:pt x="208" y="65"/>
                  <a:pt x="208" y="67"/>
                  <a:pt x="209" y="68"/>
                </a:cubicBezTo>
                <a:cubicBezTo>
                  <a:pt x="208" y="68"/>
                  <a:pt x="208" y="68"/>
                  <a:pt x="208" y="67"/>
                </a:cubicBezTo>
                <a:cubicBezTo>
                  <a:pt x="207" y="68"/>
                  <a:pt x="209" y="69"/>
                  <a:pt x="209" y="70"/>
                </a:cubicBezTo>
                <a:cubicBezTo>
                  <a:pt x="207" y="74"/>
                  <a:pt x="210" y="77"/>
                  <a:pt x="209" y="82"/>
                </a:cubicBezTo>
                <a:cubicBezTo>
                  <a:pt x="211" y="81"/>
                  <a:pt x="208" y="82"/>
                  <a:pt x="210" y="82"/>
                </a:cubicBezTo>
                <a:cubicBezTo>
                  <a:pt x="209" y="83"/>
                  <a:pt x="209" y="83"/>
                  <a:pt x="209" y="83"/>
                </a:cubicBezTo>
                <a:cubicBezTo>
                  <a:pt x="209" y="84"/>
                  <a:pt x="209" y="86"/>
                  <a:pt x="209" y="87"/>
                </a:cubicBezTo>
                <a:cubicBezTo>
                  <a:pt x="209" y="88"/>
                  <a:pt x="209" y="88"/>
                  <a:pt x="209" y="89"/>
                </a:cubicBezTo>
                <a:cubicBezTo>
                  <a:pt x="209" y="89"/>
                  <a:pt x="209" y="89"/>
                  <a:pt x="209" y="89"/>
                </a:cubicBezTo>
                <a:cubicBezTo>
                  <a:pt x="209" y="89"/>
                  <a:pt x="209" y="90"/>
                  <a:pt x="208" y="90"/>
                </a:cubicBezTo>
                <a:cubicBezTo>
                  <a:pt x="208" y="92"/>
                  <a:pt x="208" y="93"/>
                  <a:pt x="207" y="94"/>
                </a:cubicBezTo>
                <a:cubicBezTo>
                  <a:pt x="207" y="94"/>
                  <a:pt x="208" y="94"/>
                  <a:pt x="208" y="94"/>
                </a:cubicBezTo>
                <a:cubicBezTo>
                  <a:pt x="209" y="94"/>
                  <a:pt x="208" y="95"/>
                  <a:pt x="209" y="95"/>
                </a:cubicBezTo>
                <a:cubicBezTo>
                  <a:pt x="209" y="98"/>
                  <a:pt x="210" y="100"/>
                  <a:pt x="210" y="102"/>
                </a:cubicBezTo>
                <a:cubicBezTo>
                  <a:pt x="210" y="103"/>
                  <a:pt x="209" y="103"/>
                  <a:pt x="209" y="104"/>
                </a:cubicBezTo>
                <a:cubicBezTo>
                  <a:pt x="208" y="104"/>
                  <a:pt x="208" y="103"/>
                  <a:pt x="208" y="103"/>
                </a:cubicBezTo>
                <a:cubicBezTo>
                  <a:pt x="208" y="104"/>
                  <a:pt x="209" y="107"/>
                  <a:pt x="209" y="106"/>
                </a:cubicBezTo>
                <a:cubicBezTo>
                  <a:pt x="210" y="106"/>
                  <a:pt x="210" y="107"/>
                  <a:pt x="210" y="107"/>
                </a:cubicBezTo>
                <a:cubicBezTo>
                  <a:pt x="209" y="107"/>
                  <a:pt x="209" y="112"/>
                  <a:pt x="209" y="114"/>
                </a:cubicBezTo>
                <a:cubicBezTo>
                  <a:pt x="208" y="113"/>
                  <a:pt x="209" y="114"/>
                  <a:pt x="208" y="114"/>
                </a:cubicBezTo>
                <a:cubicBezTo>
                  <a:pt x="208" y="114"/>
                  <a:pt x="208" y="114"/>
                  <a:pt x="208" y="114"/>
                </a:cubicBezTo>
                <a:cubicBezTo>
                  <a:pt x="208" y="114"/>
                  <a:pt x="208" y="114"/>
                  <a:pt x="208" y="114"/>
                </a:cubicBezTo>
                <a:cubicBezTo>
                  <a:pt x="208" y="115"/>
                  <a:pt x="208" y="115"/>
                  <a:pt x="208" y="116"/>
                </a:cubicBezTo>
                <a:cubicBezTo>
                  <a:pt x="208" y="115"/>
                  <a:pt x="209" y="115"/>
                  <a:pt x="209" y="115"/>
                </a:cubicBezTo>
                <a:cubicBezTo>
                  <a:pt x="209" y="118"/>
                  <a:pt x="209" y="126"/>
                  <a:pt x="209" y="128"/>
                </a:cubicBezTo>
                <a:cubicBezTo>
                  <a:pt x="208" y="127"/>
                  <a:pt x="208" y="128"/>
                  <a:pt x="208" y="128"/>
                </a:cubicBezTo>
                <a:cubicBezTo>
                  <a:pt x="209" y="128"/>
                  <a:pt x="208" y="128"/>
                  <a:pt x="208" y="129"/>
                </a:cubicBezTo>
                <a:cubicBezTo>
                  <a:pt x="209" y="128"/>
                  <a:pt x="208" y="134"/>
                  <a:pt x="210" y="133"/>
                </a:cubicBezTo>
                <a:cubicBezTo>
                  <a:pt x="210" y="134"/>
                  <a:pt x="210" y="134"/>
                  <a:pt x="210" y="134"/>
                </a:cubicBezTo>
                <a:cubicBezTo>
                  <a:pt x="211" y="134"/>
                  <a:pt x="210" y="135"/>
                  <a:pt x="209" y="134"/>
                </a:cubicBezTo>
                <a:cubicBezTo>
                  <a:pt x="210" y="137"/>
                  <a:pt x="210" y="145"/>
                  <a:pt x="207" y="146"/>
                </a:cubicBezTo>
                <a:cubicBezTo>
                  <a:pt x="206" y="146"/>
                  <a:pt x="207" y="147"/>
                  <a:pt x="207" y="147"/>
                </a:cubicBezTo>
                <a:cubicBezTo>
                  <a:pt x="207" y="148"/>
                  <a:pt x="207" y="146"/>
                  <a:pt x="206" y="146"/>
                </a:cubicBezTo>
                <a:cubicBezTo>
                  <a:pt x="205" y="148"/>
                  <a:pt x="203" y="148"/>
                  <a:pt x="202" y="149"/>
                </a:cubicBezTo>
                <a:cubicBezTo>
                  <a:pt x="201" y="149"/>
                  <a:pt x="201" y="148"/>
                  <a:pt x="201" y="148"/>
                </a:cubicBezTo>
                <a:cubicBezTo>
                  <a:pt x="200" y="149"/>
                  <a:pt x="200" y="149"/>
                  <a:pt x="198" y="149"/>
                </a:cubicBezTo>
                <a:cubicBezTo>
                  <a:pt x="199" y="150"/>
                  <a:pt x="197" y="150"/>
                  <a:pt x="196" y="150"/>
                </a:cubicBezTo>
                <a:cubicBezTo>
                  <a:pt x="196" y="150"/>
                  <a:pt x="196" y="151"/>
                  <a:pt x="196" y="151"/>
                </a:cubicBezTo>
                <a:cubicBezTo>
                  <a:pt x="191" y="151"/>
                  <a:pt x="182" y="154"/>
                  <a:pt x="179" y="150"/>
                </a:cubicBezTo>
                <a:cubicBezTo>
                  <a:pt x="178" y="151"/>
                  <a:pt x="177" y="152"/>
                  <a:pt x="176" y="151"/>
                </a:cubicBezTo>
                <a:cubicBezTo>
                  <a:pt x="176" y="151"/>
                  <a:pt x="176" y="151"/>
                  <a:pt x="176" y="151"/>
                </a:cubicBezTo>
                <a:cubicBezTo>
                  <a:pt x="176" y="152"/>
                  <a:pt x="174" y="150"/>
                  <a:pt x="173" y="152"/>
                </a:cubicBezTo>
                <a:cubicBezTo>
                  <a:pt x="173" y="151"/>
                  <a:pt x="173" y="151"/>
                  <a:pt x="173" y="151"/>
                </a:cubicBezTo>
                <a:cubicBezTo>
                  <a:pt x="173" y="151"/>
                  <a:pt x="172" y="151"/>
                  <a:pt x="172" y="151"/>
                </a:cubicBezTo>
                <a:cubicBezTo>
                  <a:pt x="173" y="152"/>
                  <a:pt x="170" y="153"/>
                  <a:pt x="169" y="152"/>
                </a:cubicBezTo>
                <a:cubicBezTo>
                  <a:pt x="170" y="153"/>
                  <a:pt x="168" y="153"/>
                  <a:pt x="167" y="153"/>
                </a:cubicBezTo>
                <a:cubicBezTo>
                  <a:pt x="167" y="152"/>
                  <a:pt x="166" y="152"/>
                  <a:pt x="166" y="151"/>
                </a:cubicBezTo>
                <a:cubicBezTo>
                  <a:pt x="165" y="152"/>
                  <a:pt x="166" y="153"/>
                  <a:pt x="165" y="152"/>
                </a:cubicBezTo>
                <a:cubicBezTo>
                  <a:pt x="162" y="155"/>
                  <a:pt x="150" y="151"/>
                  <a:pt x="146" y="155"/>
                </a:cubicBezTo>
                <a:cubicBezTo>
                  <a:pt x="147" y="156"/>
                  <a:pt x="147" y="156"/>
                  <a:pt x="146" y="156"/>
                </a:cubicBezTo>
                <a:cubicBezTo>
                  <a:pt x="146" y="157"/>
                  <a:pt x="147" y="157"/>
                  <a:pt x="146" y="158"/>
                </a:cubicBezTo>
                <a:cubicBezTo>
                  <a:pt x="147" y="158"/>
                  <a:pt x="147" y="158"/>
                  <a:pt x="147" y="160"/>
                </a:cubicBezTo>
                <a:cubicBezTo>
                  <a:pt x="147" y="160"/>
                  <a:pt x="147" y="159"/>
                  <a:pt x="146" y="159"/>
                </a:cubicBezTo>
                <a:cubicBezTo>
                  <a:pt x="146" y="160"/>
                  <a:pt x="149" y="162"/>
                  <a:pt x="147" y="161"/>
                </a:cubicBezTo>
                <a:cubicBezTo>
                  <a:pt x="150" y="163"/>
                  <a:pt x="151" y="168"/>
                  <a:pt x="152" y="170"/>
                </a:cubicBezTo>
                <a:cubicBezTo>
                  <a:pt x="152" y="171"/>
                  <a:pt x="152" y="170"/>
                  <a:pt x="151" y="171"/>
                </a:cubicBezTo>
                <a:cubicBezTo>
                  <a:pt x="151" y="171"/>
                  <a:pt x="153" y="173"/>
                  <a:pt x="151" y="173"/>
                </a:cubicBezTo>
                <a:cubicBezTo>
                  <a:pt x="152" y="173"/>
                  <a:pt x="152" y="173"/>
                  <a:pt x="152" y="173"/>
                </a:cubicBezTo>
                <a:cubicBezTo>
                  <a:pt x="152" y="173"/>
                  <a:pt x="152" y="173"/>
                  <a:pt x="152" y="173"/>
                </a:cubicBezTo>
                <a:cubicBezTo>
                  <a:pt x="153" y="173"/>
                  <a:pt x="153" y="173"/>
                  <a:pt x="153" y="174"/>
                </a:cubicBezTo>
                <a:cubicBezTo>
                  <a:pt x="153" y="174"/>
                  <a:pt x="153" y="173"/>
                  <a:pt x="154" y="173"/>
                </a:cubicBezTo>
                <a:cubicBezTo>
                  <a:pt x="156" y="175"/>
                  <a:pt x="155" y="177"/>
                  <a:pt x="156" y="180"/>
                </a:cubicBezTo>
                <a:cubicBezTo>
                  <a:pt x="156" y="180"/>
                  <a:pt x="156" y="180"/>
                  <a:pt x="155" y="180"/>
                </a:cubicBezTo>
                <a:cubicBezTo>
                  <a:pt x="157" y="181"/>
                  <a:pt x="159" y="183"/>
                  <a:pt x="158" y="185"/>
                </a:cubicBezTo>
                <a:cubicBezTo>
                  <a:pt x="159" y="185"/>
                  <a:pt x="159" y="188"/>
                  <a:pt x="160" y="188"/>
                </a:cubicBezTo>
                <a:cubicBezTo>
                  <a:pt x="159" y="189"/>
                  <a:pt x="159" y="189"/>
                  <a:pt x="158" y="189"/>
                </a:cubicBezTo>
                <a:cubicBezTo>
                  <a:pt x="158" y="189"/>
                  <a:pt x="158" y="189"/>
                  <a:pt x="158" y="189"/>
                </a:cubicBezTo>
                <a:cubicBezTo>
                  <a:pt x="153" y="190"/>
                  <a:pt x="151" y="185"/>
                  <a:pt x="148" y="184"/>
                </a:cubicBezTo>
                <a:cubicBezTo>
                  <a:pt x="148" y="184"/>
                  <a:pt x="148" y="183"/>
                  <a:pt x="147" y="182"/>
                </a:cubicBezTo>
                <a:cubicBezTo>
                  <a:pt x="147" y="183"/>
                  <a:pt x="147" y="183"/>
                  <a:pt x="148" y="183"/>
                </a:cubicBezTo>
                <a:cubicBezTo>
                  <a:pt x="148" y="183"/>
                  <a:pt x="147" y="182"/>
                  <a:pt x="147" y="182"/>
                </a:cubicBezTo>
                <a:cubicBezTo>
                  <a:pt x="143" y="182"/>
                  <a:pt x="141" y="178"/>
                  <a:pt x="138" y="177"/>
                </a:cubicBezTo>
                <a:cubicBezTo>
                  <a:pt x="138" y="177"/>
                  <a:pt x="139" y="176"/>
                  <a:pt x="137" y="177"/>
                </a:cubicBezTo>
                <a:cubicBezTo>
                  <a:pt x="138" y="176"/>
                  <a:pt x="137" y="174"/>
                  <a:pt x="136" y="174"/>
                </a:cubicBezTo>
                <a:cubicBezTo>
                  <a:pt x="136" y="173"/>
                  <a:pt x="135" y="174"/>
                  <a:pt x="136" y="173"/>
                </a:cubicBezTo>
                <a:cubicBezTo>
                  <a:pt x="135" y="173"/>
                  <a:pt x="134" y="171"/>
                  <a:pt x="133" y="171"/>
                </a:cubicBezTo>
                <a:cubicBezTo>
                  <a:pt x="132" y="172"/>
                  <a:pt x="131" y="171"/>
                  <a:pt x="130" y="172"/>
                </a:cubicBezTo>
                <a:cubicBezTo>
                  <a:pt x="127" y="170"/>
                  <a:pt x="123" y="167"/>
                  <a:pt x="121" y="165"/>
                </a:cubicBezTo>
                <a:cubicBezTo>
                  <a:pt x="120" y="165"/>
                  <a:pt x="121" y="165"/>
                  <a:pt x="121" y="165"/>
                </a:cubicBezTo>
                <a:cubicBezTo>
                  <a:pt x="119" y="163"/>
                  <a:pt x="115" y="160"/>
                  <a:pt x="112" y="157"/>
                </a:cubicBezTo>
                <a:cubicBezTo>
                  <a:pt x="109" y="158"/>
                  <a:pt x="106" y="156"/>
                  <a:pt x="104" y="154"/>
                </a:cubicBezTo>
                <a:cubicBezTo>
                  <a:pt x="102" y="155"/>
                  <a:pt x="99" y="155"/>
                  <a:pt x="98" y="153"/>
                </a:cubicBezTo>
                <a:cubicBezTo>
                  <a:pt x="96" y="153"/>
                  <a:pt x="96" y="154"/>
                  <a:pt x="95" y="154"/>
                </a:cubicBezTo>
                <a:cubicBezTo>
                  <a:pt x="95" y="154"/>
                  <a:pt x="95" y="154"/>
                  <a:pt x="96" y="154"/>
                </a:cubicBezTo>
                <a:cubicBezTo>
                  <a:pt x="96" y="154"/>
                  <a:pt x="95" y="154"/>
                  <a:pt x="95" y="154"/>
                </a:cubicBezTo>
                <a:cubicBezTo>
                  <a:pt x="91" y="157"/>
                  <a:pt x="88" y="155"/>
                  <a:pt x="84" y="156"/>
                </a:cubicBezTo>
                <a:cubicBezTo>
                  <a:pt x="84" y="155"/>
                  <a:pt x="82" y="153"/>
                  <a:pt x="81" y="152"/>
                </a:cubicBezTo>
                <a:cubicBezTo>
                  <a:pt x="80" y="152"/>
                  <a:pt x="80" y="153"/>
                  <a:pt x="79" y="153"/>
                </a:cubicBezTo>
                <a:cubicBezTo>
                  <a:pt x="79" y="154"/>
                  <a:pt x="77" y="155"/>
                  <a:pt x="76" y="155"/>
                </a:cubicBezTo>
                <a:cubicBezTo>
                  <a:pt x="76" y="156"/>
                  <a:pt x="74" y="155"/>
                  <a:pt x="73" y="156"/>
                </a:cubicBezTo>
                <a:cubicBezTo>
                  <a:pt x="73" y="154"/>
                  <a:pt x="71" y="155"/>
                  <a:pt x="71" y="153"/>
                </a:cubicBezTo>
                <a:cubicBezTo>
                  <a:pt x="70" y="153"/>
                  <a:pt x="71" y="154"/>
                  <a:pt x="70" y="154"/>
                </a:cubicBezTo>
                <a:cubicBezTo>
                  <a:pt x="70" y="154"/>
                  <a:pt x="70" y="153"/>
                  <a:pt x="70" y="154"/>
                </a:cubicBezTo>
                <a:cubicBezTo>
                  <a:pt x="69" y="153"/>
                  <a:pt x="70" y="153"/>
                  <a:pt x="69" y="152"/>
                </a:cubicBezTo>
                <a:cubicBezTo>
                  <a:pt x="64" y="155"/>
                  <a:pt x="60" y="153"/>
                  <a:pt x="54" y="152"/>
                </a:cubicBezTo>
                <a:cubicBezTo>
                  <a:pt x="55" y="153"/>
                  <a:pt x="53" y="151"/>
                  <a:pt x="53" y="153"/>
                </a:cubicBezTo>
                <a:cubicBezTo>
                  <a:pt x="49" y="151"/>
                  <a:pt x="48" y="154"/>
                  <a:pt x="43" y="153"/>
                </a:cubicBezTo>
                <a:cubicBezTo>
                  <a:pt x="41" y="153"/>
                  <a:pt x="38" y="152"/>
                  <a:pt x="36" y="153"/>
                </a:cubicBezTo>
                <a:cubicBezTo>
                  <a:pt x="35" y="151"/>
                  <a:pt x="32" y="153"/>
                  <a:pt x="30" y="153"/>
                </a:cubicBezTo>
                <a:cubicBezTo>
                  <a:pt x="30" y="153"/>
                  <a:pt x="30" y="153"/>
                  <a:pt x="30" y="152"/>
                </a:cubicBezTo>
                <a:cubicBezTo>
                  <a:pt x="25" y="151"/>
                  <a:pt x="18" y="156"/>
                  <a:pt x="13" y="150"/>
                </a:cubicBezTo>
                <a:cubicBezTo>
                  <a:pt x="12" y="150"/>
                  <a:pt x="12" y="151"/>
                  <a:pt x="11" y="151"/>
                </a:cubicBezTo>
                <a:cubicBezTo>
                  <a:pt x="10" y="151"/>
                  <a:pt x="9" y="150"/>
                  <a:pt x="9" y="150"/>
                </a:cubicBezTo>
                <a:cubicBezTo>
                  <a:pt x="8" y="149"/>
                  <a:pt x="6" y="147"/>
                  <a:pt x="6" y="145"/>
                </a:cubicBezTo>
                <a:cubicBezTo>
                  <a:pt x="7" y="143"/>
                  <a:pt x="6" y="141"/>
                  <a:pt x="4" y="141"/>
                </a:cubicBezTo>
                <a:cubicBezTo>
                  <a:pt x="5" y="141"/>
                  <a:pt x="3" y="139"/>
                  <a:pt x="4" y="139"/>
                </a:cubicBezTo>
                <a:cubicBezTo>
                  <a:pt x="3" y="139"/>
                  <a:pt x="3" y="136"/>
                  <a:pt x="2" y="137"/>
                </a:cubicBezTo>
                <a:cubicBezTo>
                  <a:pt x="3" y="133"/>
                  <a:pt x="3" y="131"/>
                  <a:pt x="3" y="126"/>
                </a:cubicBezTo>
                <a:cubicBezTo>
                  <a:pt x="3" y="126"/>
                  <a:pt x="2" y="126"/>
                  <a:pt x="2" y="126"/>
                </a:cubicBezTo>
                <a:cubicBezTo>
                  <a:pt x="2" y="125"/>
                  <a:pt x="1" y="125"/>
                  <a:pt x="2" y="124"/>
                </a:cubicBezTo>
                <a:cubicBezTo>
                  <a:pt x="3" y="122"/>
                  <a:pt x="0" y="119"/>
                  <a:pt x="2" y="116"/>
                </a:cubicBezTo>
                <a:cubicBezTo>
                  <a:pt x="1" y="117"/>
                  <a:pt x="2" y="116"/>
                  <a:pt x="1" y="116"/>
                </a:cubicBezTo>
                <a:cubicBezTo>
                  <a:pt x="1" y="115"/>
                  <a:pt x="2" y="116"/>
                  <a:pt x="2" y="116"/>
                </a:cubicBezTo>
                <a:cubicBezTo>
                  <a:pt x="2" y="116"/>
                  <a:pt x="3" y="114"/>
                  <a:pt x="2" y="114"/>
                </a:cubicBezTo>
                <a:cubicBezTo>
                  <a:pt x="2" y="113"/>
                  <a:pt x="3" y="114"/>
                  <a:pt x="3" y="114"/>
                </a:cubicBezTo>
                <a:cubicBezTo>
                  <a:pt x="3" y="114"/>
                  <a:pt x="3" y="113"/>
                  <a:pt x="3" y="112"/>
                </a:cubicBezTo>
                <a:cubicBezTo>
                  <a:pt x="4" y="113"/>
                  <a:pt x="3" y="112"/>
                  <a:pt x="4" y="112"/>
                </a:cubicBezTo>
                <a:cubicBezTo>
                  <a:pt x="3" y="110"/>
                  <a:pt x="3" y="109"/>
                  <a:pt x="2" y="108"/>
                </a:cubicBezTo>
                <a:cubicBezTo>
                  <a:pt x="2" y="108"/>
                  <a:pt x="2" y="108"/>
                  <a:pt x="1" y="108"/>
                </a:cubicBezTo>
                <a:cubicBezTo>
                  <a:pt x="2" y="107"/>
                  <a:pt x="1" y="107"/>
                  <a:pt x="1" y="106"/>
                </a:cubicBezTo>
                <a:cubicBezTo>
                  <a:pt x="1" y="106"/>
                  <a:pt x="1" y="106"/>
                  <a:pt x="2" y="106"/>
                </a:cubicBezTo>
                <a:cubicBezTo>
                  <a:pt x="1" y="106"/>
                  <a:pt x="1" y="106"/>
                  <a:pt x="1" y="106"/>
                </a:cubicBezTo>
                <a:cubicBezTo>
                  <a:pt x="1" y="105"/>
                  <a:pt x="2" y="105"/>
                  <a:pt x="2" y="105"/>
                </a:cubicBezTo>
                <a:cubicBezTo>
                  <a:pt x="2" y="104"/>
                  <a:pt x="2" y="104"/>
                  <a:pt x="1" y="104"/>
                </a:cubicBezTo>
                <a:cubicBezTo>
                  <a:pt x="1" y="102"/>
                  <a:pt x="3" y="101"/>
                  <a:pt x="1" y="101"/>
                </a:cubicBezTo>
                <a:cubicBezTo>
                  <a:pt x="1" y="100"/>
                  <a:pt x="2" y="100"/>
                  <a:pt x="2" y="99"/>
                </a:cubicBezTo>
                <a:cubicBezTo>
                  <a:pt x="1" y="100"/>
                  <a:pt x="1" y="100"/>
                  <a:pt x="1" y="100"/>
                </a:cubicBezTo>
                <a:cubicBezTo>
                  <a:pt x="1" y="100"/>
                  <a:pt x="1" y="100"/>
                  <a:pt x="1" y="99"/>
                </a:cubicBezTo>
                <a:cubicBezTo>
                  <a:pt x="2" y="99"/>
                  <a:pt x="2" y="99"/>
                  <a:pt x="1" y="98"/>
                </a:cubicBezTo>
                <a:cubicBezTo>
                  <a:pt x="3" y="99"/>
                  <a:pt x="1" y="97"/>
                  <a:pt x="2" y="97"/>
                </a:cubicBezTo>
                <a:cubicBezTo>
                  <a:pt x="2" y="97"/>
                  <a:pt x="2" y="97"/>
                  <a:pt x="2" y="97"/>
                </a:cubicBezTo>
                <a:cubicBezTo>
                  <a:pt x="3" y="96"/>
                  <a:pt x="1" y="96"/>
                  <a:pt x="3" y="96"/>
                </a:cubicBezTo>
                <a:cubicBezTo>
                  <a:pt x="2" y="95"/>
                  <a:pt x="3" y="94"/>
                  <a:pt x="2" y="94"/>
                </a:cubicBezTo>
                <a:cubicBezTo>
                  <a:pt x="3" y="94"/>
                  <a:pt x="2" y="93"/>
                  <a:pt x="3" y="93"/>
                </a:cubicBezTo>
                <a:cubicBezTo>
                  <a:pt x="3" y="93"/>
                  <a:pt x="3" y="91"/>
                  <a:pt x="3" y="92"/>
                </a:cubicBezTo>
                <a:cubicBezTo>
                  <a:pt x="4" y="92"/>
                  <a:pt x="2" y="91"/>
                  <a:pt x="3" y="91"/>
                </a:cubicBezTo>
                <a:cubicBezTo>
                  <a:pt x="0" y="89"/>
                  <a:pt x="1" y="86"/>
                  <a:pt x="2" y="83"/>
                </a:cubicBezTo>
                <a:cubicBezTo>
                  <a:pt x="1" y="84"/>
                  <a:pt x="2" y="82"/>
                  <a:pt x="3" y="82"/>
                </a:cubicBezTo>
                <a:cubicBezTo>
                  <a:pt x="2" y="82"/>
                  <a:pt x="2" y="82"/>
                  <a:pt x="2" y="82"/>
                </a:cubicBezTo>
                <a:cubicBezTo>
                  <a:pt x="3" y="82"/>
                  <a:pt x="5" y="78"/>
                  <a:pt x="2" y="78"/>
                </a:cubicBezTo>
                <a:cubicBezTo>
                  <a:pt x="2" y="76"/>
                  <a:pt x="3" y="78"/>
                  <a:pt x="2" y="76"/>
                </a:cubicBezTo>
                <a:cubicBezTo>
                  <a:pt x="2" y="77"/>
                  <a:pt x="3" y="76"/>
                  <a:pt x="3" y="75"/>
                </a:cubicBezTo>
                <a:cubicBezTo>
                  <a:pt x="3" y="76"/>
                  <a:pt x="3" y="77"/>
                  <a:pt x="4" y="77"/>
                </a:cubicBezTo>
                <a:cubicBezTo>
                  <a:pt x="3" y="76"/>
                  <a:pt x="4" y="76"/>
                  <a:pt x="3" y="75"/>
                </a:cubicBezTo>
                <a:cubicBezTo>
                  <a:pt x="3" y="75"/>
                  <a:pt x="4" y="74"/>
                  <a:pt x="3" y="74"/>
                </a:cubicBezTo>
                <a:cubicBezTo>
                  <a:pt x="4" y="75"/>
                  <a:pt x="4" y="73"/>
                  <a:pt x="4" y="74"/>
                </a:cubicBezTo>
                <a:cubicBezTo>
                  <a:pt x="4" y="72"/>
                  <a:pt x="3" y="72"/>
                  <a:pt x="3" y="71"/>
                </a:cubicBezTo>
                <a:cubicBezTo>
                  <a:pt x="4" y="72"/>
                  <a:pt x="2" y="69"/>
                  <a:pt x="4" y="68"/>
                </a:cubicBezTo>
                <a:cubicBezTo>
                  <a:pt x="4" y="69"/>
                  <a:pt x="4" y="69"/>
                  <a:pt x="4" y="69"/>
                </a:cubicBezTo>
                <a:cubicBezTo>
                  <a:pt x="4" y="69"/>
                  <a:pt x="4" y="69"/>
                  <a:pt x="4" y="69"/>
                </a:cubicBezTo>
                <a:cubicBezTo>
                  <a:pt x="5" y="69"/>
                  <a:pt x="5" y="69"/>
                  <a:pt x="4" y="70"/>
                </a:cubicBezTo>
                <a:cubicBezTo>
                  <a:pt x="5" y="70"/>
                  <a:pt x="5" y="69"/>
                  <a:pt x="5" y="69"/>
                </a:cubicBezTo>
                <a:cubicBezTo>
                  <a:pt x="4" y="69"/>
                  <a:pt x="4" y="68"/>
                  <a:pt x="4" y="67"/>
                </a:cubicBezTo>
                <a:cubicBezTo>
                  <a:pt x="3" y="68"/>
                  <a:pt x="3" y="67"/>
                  <a:pt x="2" y="67"/>
                </a:cubicBezTo>
                <a:cubicBezTo>
                  <a:pt x="2" y="65"/>
                  <a:pt x="2" y="62"/>
                  <a:pt x="2" y="61"/>
                </a:cubicBezTo>
                <a:cubicBezTo>
                  <a:pt x="2" y="60"/>
                  <a:pt x="4" y="61"/>
                  <a:pt x="3" y="62"/>
                </a:cubicBezTo>
                <a:cubicBezTo>
                  <a:pt x="5" y="59"/>
                  <a:pt x="3" y="56"/>
                  <a:pt x="4" y="54"/>
                </a:cubicBezTo>
                <a:cubicBezTo>
                  <a:pt x="5" y="54"/>
                  <a:pt x="6" y="50"/>
                  <a:pt x="4" y="50"/>
                </a:cubicBezTo>
                <a:cubicBezTo>
                  <a:pt x="2" y="43"/>
                  <a:pt x="4" y="39"/>
                  <a:pt x="3" y="33"/>
                </a:cubicBezTo>
                <a:cubicBezTo>
                  <a:pt x="4" y="33"/>
                  <a:pt x="4" y="33"/>
                  <a:pt x="4" y="33"/>
                </a:cubicBezTo>
                <a:cubicBezTo>
                  <a:pt x="4" y="33"/>
                  <a:pt x="3" y="33"/>
                  <a:pt x="4" y="32"/>
                </a:cubicBezTo>
                <a:cubicBezTo>
                  <a:pt x="4" y="32"/>
                  <a:pt x="4" y="32"/>
                  <a:pt x="3" y="32"/>
                </a:cubicBezTo>
                <a:cubicBezTo>
                  <a:pt x="4" y="31"/>
                  <a:pt x="4" y="32"/>
                  <a:pt x="5" y="32"/>
                </a:cubicBezTo>
                <a:cubicBezTo>
                  <a:pt x="4" y="32"/>
                  <a:pt x="4" y="31"/>
                  <a:pt x="4" y="31"/>
                </a:cubicBezTo>
                <a:cubicBezTo>
                  <a:pt x="4" y="31"/>
                  <a:pt x="5" y="31"/>
                  <a:pt x="5" y="31"/>
                </a:cubicBezTo>
                <a:cubicBezTo>
                  <a:pt x="5" y="31"/>
                  <a:pt x="4" y="30"/>
                  <a:pt x="5" y="30"/>
                </a:cubicBezTo>
                <a:cubicBezTo>
                  <a:pt x="4" y="31"/>
                  <a:pt x="5" y="30"/>
                  <a:pt x="5" y="28"/>
                </a:cubicBezTo>
                <a:cubicBezTo>
                  <a:pt x="5" y="28"/>
                  <a:pt x="4" y="27"/>
                  <a:pt x="3" y="27"/>
                </a:cubicBezTo>
                <a:cubicBezTo>
                  <a:pt x="3" y="26"/>
                  <a:pt x="3" y="24"/>
                  <a:pt x="3" y="24"/>
                </a:cubicBezTo>
                <a:cubicBezTo>
                  <a:pt x="3" y="23"/>
                  <a:pt x="3" y="24"/>
                  <a:pt x="4" y="24"/>
                </a:cubicBezTo>
                <a:cubicBezTo>
                  <a:pt x="3" y="22"/>
                  <a:pt x="5" y="20"/>
                  <a:pt x="3" y="20"/>
                </a:cubicBezTo>
                <a:cubicBezTo>
                  <a:pt x="3" y="19"/>
                  <a:pt x="4" y="20"/>
                  <a:pt x="5" y="20"/>
                </a:cubicBezTo>
                <a:cubicBezTo>
                  <a:pt x="4" y="19"/>
                  <a:pt x="4" y="19"/>
                  <a:pt x="4" y="19"/>
                </a:cubicBezTo>
                <a:cubicBezTo>
                  <a:pt x="5" y="18"/>
                  <a:pt x="7" y="18"/>
                  <a:pt x="6" y="16"/>
                </a:cubicBezTo>
                <a:cubicBezTo>
                  <a:pt x="6" y="16"/>
                  <a:pt x="7" y="17"/>
                  <a:pt x="6" y="17"/>
                </a:cubicBezTo>
                <a:cubicBezTo>
                  <a:pt x="6" y="15"/>
                  <a:pt x="6" y="16"/>
                  <a:pt x="6" y="14"/>
                </a:cubicBezTo>
                <a:cubicBezTo>
                  <a:pt x="6" y="15"/>
                  <a:pt x="6" y="15"/>
                  <a:pt x="7" y="15"/>
                </a:cubicBezTo>
                <a:cubicBezTo>
                  <a:pt x="6" y="13"/>
                  <a:pt x="9" y="13"/>
                  <a:pt x="7" y="10"/>
                </a:cubicBezTo>
                <a:cubicBezTo>
                  <a:pt x="8" y="10"/>
                  <a:pt x="8" y="9"/>
                  <a:pt x="9" y="8"/>
                </a:cubicBezTo>
                <a:cubicBezTo>
                  <a:pt x="10" y="9"/>
                  <a:pt x="9" y="9"/>
                  <a:pt x="9" y="8"/>
                </a:cubicBezTo>
                <a:cubicBezTo>
                  <a:pt x="10" y="8"/>
                  <a:pt x="10" y="8"/>
                  <a:pt x="10" y="8"/>
                </a:cubicBezTo>
                <a:cubicBezTo>
                  <a:pt x="11" y="8"/>
                  <a:pt x="10" y="8"/>
                  <a:pt x="10" y="7"/>
                </a:cubicBezTo>
                <a:cubicBezTo>
                  <a:pt x="11" y="7"/>
                  <a:pt x="11" y="7"/>
                  <a:pt x="11" y="7"/>
                </a:cubicBezTo>
                <a:cubicBezTo>
                  <a:pt x="12" y="7"/>
                  <a:pt x="12" y="7"/>
                  <a:pt x="12" y="6"/>
                </a:cubicBezTo>
                <a:cubicBezTo>
                  <a:pt x="13" y="6"/>
                  <a:pt x="14" y="5"/>
                  <a:pt x="15" y="6"/>
                </a:cubicBezTo>
                <a:cubicBezTo>
                  <a:pt x="15" y="5"/>
                  <a:pt x="14" y="5"/>
                  <a:pt x="14" y="5"/>
                </a:cubicBezTo>
                <a:cubicBezTo>
                  <a:pt x="15" y="4"/>
                  <a:pt x="17" y="5"/>
                  <a:pt x="17" y="6"/>
                </a:cubicBezTo>
                <a:cubicBezTo>
                  <a:pt x="18" y="5"/>
                  <a:pt x="18" y="6"/>
                  <a:pt x="18" y="5"/>
                </a:cubicBezTo>
                <a:cubicBezTo>
                  <a:pt x="19" y="5"/>
                  <a:pt x="19" y="6"/>
                  <a:pt x="19" y="4"/>
                </a:cubicBezTo>
                <a:cubicBezTo>
                  <a:pt x="20" y="4"/>
                  <a:pt x="21" y="5"/>
                  <a:pt x="21" y="4"/>
                </a:cubicBezTo>
                <a:cubicBezTo>
                  <a:pt x="22" y="4"/>
                  <a:pt x="21" y="5"/>
                  <a:pt x="22" y="5"/>
                </a:cubicBezTo>
                <a:cubicBezTo>
                  <a:pt x="22" y="5"/>
                  <a:pt x="21" y="5"/>
                  <a:pt x="22" y="4"/>
                </a:cubicBezTo>
                <a:cubicBezTo>
                  <a:pt x="22" y="4"/>
                  <a:pt x="22" y="5"/>
                  <a:pt x="23" y="4"/>
                </a:cubicBezTo>
                <a:cubicBezTo>
                  <a:pt x="27" y="5"/>
                  <a:pt x="32" y="0"/>
                  <a:pt x="35" y="4"/>
                </a:cubicBezTo>
                <a:cubicBezTo>
                  <a:pt x="37" y="3"/>
                  <a:pt x="40" y="2"/>
                  <a:pt x="43" y="3"/>
                </a:cubicBezTo>
                <a:cubicBezTo>
                  <a:pt x="44" y="2"/>
                  <a:pt x="47" y="3"/>
                  <a:pt x="48" y="2"/>
                </a:cubicBezTo>
                <a:cubicBezTo>
                  <a:pt x="48" y="3"/>
                  <a:pt x="51" y="3"/>
                  <a:pt x="51" y="4"/>
                </a:cubicBezTo>
                <a:cubicBezTo>
                  <a:pt x="53" y="4"/>
                  <a:pt x="54" y="2"/>
                  <a:pt x="55" y="4"/>
                </a:cubicBezTo>
                <a:cubicBezTo>
                  <a:pt x="55" y="3"/>
                  <a:pt x="55" y="3"/>
                  <a:pt x="56" y="3"/>
                </a:cubicBezTo>
                <a:cubicBezTo>
                  <a:pt x="56" y="3"/>
                  <a:pt x="55" y="3"/>
                  <a:pt x="55" y="4"/>
                </a:cubicBezTo>
                <a:cubicBezTo>
                  <a:pt x="56" y="3"/>
                  <a:pt x="56" y="3"/>
                  <a:pt x="56" y="3"/>
                </a:cubicBezTo>
                <a:cubicBezTo>
                  <a:pt x="56" y="3"/>
                  <a:pt x="57" y="3"/>
                  <a:pt x="58" y="4"/>
                </a:cubicBezTo>
                <a:cubicBezTo>
                  <a:pt x="60" y="2"/>
                  <a:pt x="61" y="3"/>
                  <a:pt x="63" y="3"/>
                </a:cubicBezTo>
                <a:cubicBezTo>
                  <a:pt x="63" y="1"/>
                  <a:pt x="67" y="4"/>
                  <a:pt x="67" y="2"/>
                </a:cubicBezTo>
                <a:cubicBezTo>
                  <a:pt x="69" y="3"/>
                  <a:pt x="71" y="2"/>
                  <a:pt x="73" y="2"/>
                </a:cubicBezTo>
                <a:cubicBezTo>
                  <a:pt x="73" y="2"/>
                  <a:pt x="73" y="2"/>
                  <a:pt x="73" y="2"/>
                </a:cubicBezTo>
                <a:cubicBezTo>
                  <a:pt x="75" y="3"/>
                  <a:pt x="78" y="1"/>
                  <a:pt x="80" y="2"/>
                </a:cubicBezTo>
                <a:cubicBezTo>
                  <a:pt x="81" y="0"/>
                  <a:pt x="90" y="1"/>
                  <a:pt x="93" y="1"/>
                </a:cubicBezTo>
                <a:cubicBezTo>
                  <a:pt x="94" y="0"/>
                  <a:pt x="99" y="2"/>
                  <a:pt x="100" y="1"/>
                </a:cubicBezTo>
                <a:cubicBezTo>
                  <a:pt x="101" y="2"/>
                  <a:pt x="102" y="2"/>
                  <a:pt x="102" y="3"/>
                </a:cubicBezTo>
                <a:cubicBezTo>
                  <a:pt x="103" y="3"/>
                  <a:pt x="103" y="4"/>
                  <a:pt x="104" y="2"/>
                </a:cubicBezTo>
                <a:cubicBezTo>
                  <a:pt x="104" y="2"/>
                  <a:pt x="104" y="3"/>
                  <a:pt x="104" y="3"/>
                </a:cubicBezTo>
                <a:cubicBezTo>
                  <a:pt x="105" y="1"/>
                  <a:pt x="107" y="1"/>
                  <a:pt x="109" y="1"/>
                </a:cubicBezTo>
                <a:cubicBezTo>
                  <a:pt x="109" y="1"/>
                  <a:pt x="108" y="1"/>
                  <a:pt x="109" y="2"/>
                </a:cubicBezTo>
                <a:cubicBezTo>
                  <a:pt x="110" y="2"/>
                  <a:pt x="109" y="1"/>
                  <a:pt x="109" y="1"/>
                </a:cubicBezTo>
                <a:cubicBezTo>
                  <a:pt x="110" y="1"/>
                  <a:pt x="110" y="2"/>
                  <a:pt x="110" y="1"/>
                </a:cubicBezTo>
                <a:cubicBezTo>
                  <a:pt x="113" y="4"/>
                  <a:pt x="115" y="1"/>
                  <a:pt x="119" y="1"/>
                </a:cubicBezTo>
                <a:cubicBezTo>
                  <a:pt x="119" y="1"/>
                  <a:pt x="122" y="1"/>
                  <a:pt x="124" y="1"/>
                </a:cubicBezTo>
                <a:cubicBezTo>
                  <a:pt x="123" y="0"/>
                  <a:pt x="124" y="1"/>
                  <a:pt x="124" y="1"/>
                </a:cubicBezTo>
                <a:close/>
                <a:moveTo>
                  <a:pt x="209" y="103"/>
                </a:moveTo>
                <a:cubicBezTo>
                  <a:pt x="208" y="104"/>
                  <a:pt x="210" y="102"/>
                  <a:pt x="209" y="103"/>
                </a:cubicBezTo>
                <a:close/>
                <a:moveTo>
                  <a:pt x="202" y="148"/>
                </a:moveTo>
                <a:cubicBezTo>
                  <a:pt x="201" y="149"/>
                  <a:pt x="203" y="147"/>
                  <a:pt x="202" y="148"/>
                </a:cubicBezTo>
                <a:close/>
                <a:moveTo>
                  <a:pt x="200" y="149"/>
                </a:moveTo>
                <a:cubicBezTo>
                  <a:pt x="199" y="150"/>
                  <a:pt x="201" y="148"/>
                  <a:pt x="200" y="149"/>
                </a:cubicBezTo>
                <a:close/>
                <a:moveTo>
                  <a:pt x="1" y="101"/>
                </a:moveTo>
                <a:cubicBezTo>
                  <a:pt x="1" y="101"/>
                  <a:pt x="1" y="101"/>
                  <a:pt x="1" y="101"/>
                </a:cubicBezTo>
                <a:close/>
                <a:moveTo>
                  <a:pt x="3" y="75"/>
                </a:moveTo>
                <a:cubicBezTo>
                  <a:pt x="3" y="75"/>
                  <a:pt x="3" y="75"/>
                  <a:pt x="3" y="75"/>
                </a:cubicBezTo>
                <a:close/>
                <a:moveTo>
                  <a:pt x="9" y="10"/>
                </a:moveTo>
                <a:cubicBezTo>
                  <a:pt x="9" y="9"/>
                  <a:pt x="8" y="10"/>
                  <a:pt x="9" y="10"/>
                </a:cubicBezTo>
                <a:close/>
                <a:moveTo>
                  <a:pt x="89" y="2"/>
                </a:moveTo>
                <a:cubicBezTo>
                  <a:pt x="89" y="2"/>
                  <a:pt x="89" y="2"/>
                  <a:pt x="89" y="2"/>
                </a:cubicBezTo>
                <a:close/>
                <a:moveTo>
                  <a:pt x="106" y="2"/>
                </a:moveTo>
                <a:cubicBezTo>
                  <a:pt x="106" y="3"/>
                  <a:pt x="106" y="2"/>
                  <a:pt x="106" y="2"/>
                </a:cubicBezTo>
                <a:close/>
                <a:moveTo>
                  <a:pt x="155" y="2"/>
                </a:moveTo>
                <a:cubicBezTo>
                  <a:pt x="156" y="3"/>
                  <a:pt x="155" y="2"/>
                  <a:pt x="155" y="2"/>
                </a:cubicBezTo>
                <a:close/>
                <a:moveTo>
                  <a:pt x="182" y="2"/>
                </a:moveTo>
                <a:cubicBezTo>
                  <a:pt x="182" y="3"/>
                  <a:pt x="181" y="2"/>
                  <a:pt x="182" y="2"/>
                </a:cubicBezTo>
                <a:close/>
                <a:moveTo>
                  <a:pt x="182" y="2"/>
                </a:moveTo>
                <a:cubicBezTo>
                  <a:pt x="182" y="3"/>
                  <a:pt x="182" y="2"/>
                  <a:pt x="182" y="2"/>
                </a:cubicBezTo>
                <a:close/>
                <a:moveTo>
                  <a:pt x="45" y="3"/>
                </a:moveTo>
                <a:cubicBezTo>
                  <a:pt x="45" y="3"/>
                  <a:pt x="45" y="3"/>
                  <a:pt x="45" y="3"/>
                </a:cubicBezTo>
                <a:close/>
                <a:moveTo>
                  <a:pt x="105" y="3"/>
                </a:moveTo>
                <a:cubicBezTo>
                  <a:pt x="106" y="3"/>
                  <a:pt x="105" y="3"/>
                  <a:pt x="105" y="3"/>
                </a:cubicBezTo>
                <a:close/>
                <a:moveTo>
                  <a:pt x="67" y="3"/>
                </a:moveTo>
                <a:cubicBezTo>
                  <a:pt x="67" y="3"/>
                  <a:pt x="67" y="3"/>
                  <a:pt x="67" y="3"/>
                </a:cubicBezTo>
                <a:close/>
                <a:moveTo>
                  <a:pt x="69" y="3"/>
                </a:moveTo>
                <a:cubicBezTo>
                  <a:pt x="69" y="3"/>
                  <a:pt x="69" y="3"/>
                  <a:pt x="69" y="3"/>
                </a:cubicBezTo>
                <a:close/>
                <a:moveTo>
                  <a:pt x="174" y="3"/>
                </a:moveTo>
                <a:cubicBezTo>
                  <a:pt x="174" y="3"/>
                  <a:pt x="174" y="3"/>
                  <a:pt x="174" y="3"/>
                </a:cubicBezTo>
                <a:close/>
                <a:moveTo>
                  <a:pt x="43" y="4"/>
                </a:moveTo>
                <a:cubicBezTo>
                  <a:pt x="44" y="4"/>
                  <a:pt x="43" y="3"/>
                  <a:pt x="43" y="4"/>
                </a:cubicBezTo>
                <a:close/>
                <a:moveTo>
                  <a:pt x="44" y="4"/>
                </a:moveTo>
                <a:cubicBezTo>
                  <a:pt x="44" y="4"/>
                  <a:pt x="44" y="3"/>
                  <a:pt x="44" y="4"/>
                </a:cubicBezTo>
                <a:close/>
                <a:moveTo>
                  <a:pt x="60" y="4"/>
                </a:moveTo>
                <a:cubicBezTo>
                  <a:pt x="60" y="4"/>
                  <a:pt x="60" y="3"/>
                  <a:pt x="60" y="4"/>
                </a:cubicBezTo>
                <a:close/>
                <a:moveTo>
                  <a:pt x="104" y="4"/>
                </a:moveTo>
                <a:cubicBezTo>
                  <a:pt x="104" y="4"/>
                  <a:pt x="104" y="3"/>
                  <a:pt x="104" y="4"/>
                </a:cubicBezTo>
                <a:close/>
                <a:moveTo>
                  <a:pt x="103" y="4"/>
                </a:moveTo>
                <a:cubicBezTo>
                  <a:pt x="103" y="4"/>
                  <a:pt x="103" y="4"/>
                  <a:pt x="103" y="4"/>
                </a:cubicBezTo>
                <a:close/>
                <a:moveTo>
                  <a:pt x="27" y="4"/>
                </a:moveTo>
                <a:cubicBezTo>
                  <a:pt x="27" y="4"/>
                  <a:pt x="27" y="4"/>
                  <a:pt x="27" y="4"/>
                </a:cubicBezTo>
                <a:close/>
                <a:moveTo>
                  <a:pt x="59" y="4"/>
                </a:moveTo>
                <a:cubicBezTo>
                  <a:pt x="59" y="4"/>
                  <a:pt x="59" y="4"/>
                  <a:pt x="59" y="4"/>
                </a:cubicBezTo>
                <a:close/>
                <a:moveTo>
                  <a:pt x="104" y="4"/>
                </a:moveTo>
                <a:cubicBezTo>
                  <a:pt x="104" y="4"/>
                  <a:pt x="104" y="4"/>
                  <a:pt x="104" y="4"/>
                </a:cubicBezTo>
                <a:close/>
                <a:moveTo>
                  <a:pt x="169" y="4"/>
                </a:moveTo>
                <a:cubicBezTo>
                  <a:pt x="170" y="4"/>
                  <a:pt x="169" y="4"/>
                  <a:pt x="169" y="4"/>
                </a:cubicBezTo>
                <a:close/>
                <a:moveTo>
                  <a:pt x="26" y="4"/>
                </a:moveTo>
                <a:cubicBezTo>
                  <a:pt x="26" y="5"/>
                  <a:pt x="26" y="4"/>
                  <a:pt x="26" y="4"/>
                </a:cubicBezTo>
                <a:close/>
                <a:moveTo>
                  <a:pt x="50" y="4"/>
                </a:moveTo>
                <a:cubicBezTo>
                  <a:pt x="51" y="5"/>
                  <a:pt x="50" y="4"/>
                  <a:pt x="50" y="4"/>
                </a:cubicBezTo>
                <a:close/>
                <a:moveTo>
                  <a:pt x="190" y="5"/>
                </a:moveTo>
                <a:cubicBezTo>
                  <a:pt x="190" y="5"/>
                  <a:pt x="190" y="5"/>
                  <a:pt x="190" y="5"/>
                </a:cubicBezTo>
                <a:close/>
                <a:moveTo>
                  <a:pt x="20" y="5"/>
                </a:moveTo>
                <a:cubicBezTo>
                  <a:pt x="20" y="5"/>
                  <a:pt x="20" y="5"/>
                  <a:pt x="20" y="5"/>
                </a:cubicBezTo>
                <a:close/>
                <a:moveTo>
                  <a:pt x="19" y="6"/>
                </a:moveTo>
                <a:cubicBezTo>
                  <a:pt x="19" y="6"/>
                  <a:pt x="19" y="6"/>
                  <a:pt x="19" y="6"/>
                </a:cubicBezTo>
                <a:close/>
                <a:moveTo>
                  <a:pt x="13" y="7"/>
                </a:moveTo>
                <a:cubicBezTo>
                  <a:pt x="13" y="7"/>
                  <a:pt x="12" y="6"/>
                  <a:pt x="13" y="7"/>
                </a:cubicBezTo>
                <a:close/>
                <a:moveTo>
                  <a:pt x="11" y="8"/>
                </a:moveTo>
                <a:cubicBezTo>
                  <a:pt x="11" y="8"/>
                  <a:pt x="11" y="8"/>
                  <a:pt x="11" y="8"/>
                </a:cubicBezTo>
                <a:close/>
                <a:moveTo>
                  <a:pt x="198" y="8"/>
                </a:moveTo>
                <a:cubicBezTo>
                  <a:pt x="199" y="8"/>
                  <a:pt x="198" y="8"/>
                  <a:pt x="198" y="8"/>
                </a:cubicBezTo>
                <a:close/>
                <a:moveTo>
                  <a:pt x="10" y="9"/>
                </a:moveTo>
                <a:cubicBezTo>
                  <a:pt x="10" y="9"/>
                  <a:pt x="10" y="9"/>
                  <a:pt x="10" y="9"/>
                </a:cubicBezTo>
                <a:close/>
                <a:moveTo>
                  <a:pt x="9" y="9"/>
                </a:moveTo>
                <a:cubicBezTo>
                  <a:pt x="9" y="10"/>
                  <a:pt x="9" y="9"/>
                  <a:pt x="9" y="9"/>
                </a:cubicBezTo>
                <a:close/>
                <a:moveTo>
                  <a:pt x="202" y="9"/>
                </a:moveTo>
                <a:cubicBezTo>
                  <a:pt x="203" y="10"/>
                  <a:pt x="202" y="9"/>
                  <a:pt x="202" y="9"/>
                </a:cubicBezTo>
                <a:close/>
                <a:moveTo>
                  <a:pt x="7" y="11"/>
                </a:moveTo>
                <a:cubicBezTo>
                  <a:pt x="8" y="11"/>
                  <a:pt x="7" y="10"/>
                  <a:pt x="7" y="11"/>
                </a:cubicBezTo>
                <a:close/>
                <a:moveTo>
                  <a:pt x="8" y="11"/>
                </a:moveTo>
                <a:cubicBezTo>
                  <a:pt x="8" y="11"/>
                  <a:pt x="8" y="10"/>
                  <a:pt x="8" y="11"/>
                </a:cubicBezTo>
                <a:close/>
                <a:moveTo>
                  <a:pt x="8" y="11"/>
                </a:moveTo>
                <a:cubicBezTo>
                  <a:pt x="8" y="11"/>
                  <a:pt x="8" y="11"/>
                  <a:pt x="8" y="11"/>
                </a:cubicBezTo>
                <a:close/>
                <a:moveTo>
                  <a:pt x="6" y="16"/>
                </a:moveTo>
                <a:cubicBezTo>
                  <a:pt x="6" y="16"/>
                  <a:pt x="6" y="16"/>
                  <a:pt x="6" y="16"/>
                </a:cubicBezTo>
                <a:close/>
                <a:moveTo>
                  <a:pt x="6" y="18"/>
                </a:moveTo>
                <a:cubicBezTo>
                  <a:pt x="7" y="18"/>
                  <a:pt x="6" y="18"/>
                  <a:pt x="6" y="18"/>
                </a:cubicBezTo>
                <a:close/>
                <a:moveTo>
                  <a:pt x="6" y="18"/>
                </a:moveTo>
                <a:cubicBezTo>
                  <a:pt x="6" y="19"/>
                  <a:pt x="6" y="17"/>
                  <a:pt x="6" y="18"/>
                </a:cubicBezTo>
                <a:close/>
                <a:moveTo>
                  <a:pt x="5" y="19"/>
                </a:moveTo>
                <a:cubicBezTo>
                  <a:pt x="5" y="19"/>
                  <a:pt x="5" y="19"/>
                  <a:pt x="5" y="19"/>
                </a:cubicBezTo>
                <a:close/>
                <a:moveTo>
                  <a:pt x="5" y="20"/>
                </a:moveTo>
                <a:cubicBezTo>
                  <a:pt x="5" y="20"/>
                  <a:pt x="5" y="20"/>
                  <a:pt x="5" y="20"/>
                </a:cubicBezTo>
                <a:close/>
                <a:moveTo>
                  <a:pt x="4" y="22"/>
                </a:moveTo>
                <a:cubicBezTo>
                  <a:pt x="5" y="22"/>
                  <a:pt x="4" y="22"/>
                  <a:pt x="4" y="22"/>
                </a:cubicBezTo>
                <a:close/>
                <a:moveTo>
                  <a:pt x="206" y="22"/>
                </a:moveTo>
                <a:cubicBezTo>
                  <a:pt x="207" y="22"/>
                  <a:pt x="206" y="22"/>
                  <a:pt x="206" y="22"/>
                </a:cubicBezTo>
                <a:close/>
                <a:moveTo>
                  <a:pt x="4" y="23"/>
                </a:moveTo>
                <a:cubicBezTo>
                  <a:pt x="4" y="23"/>
                  <a:pt x="4" y="23"/>
                  <a:pt x="4" y="23"/>
                </a:cubicBezTo>
                <a:close/>
                <a:moveTo>
                  <a:pt x="5" y="30"/>
                </a:moveTo>
                <a:cubicBezTo>
                  <a:pt x="5" y="30"/>
                  <a:pt x="5" y="30"/>
                  <a:pt x="5" y="30"/>
                </a:cubicBezTo>
                <a:close/>
                <a:moveTo>
                  <a:pt x="4" y="33"/>
                </a:moveTo>
                <a:cubicBezTo>
                  <a:pt x="5" y="33"/>
                  <a:pt x="4" y="33"/>
                  <a:pt x="4" y="33"/>
                </a:cubicBezTo>
                <a:close/>
                <a:moveTo>
                  <a:pt x="4" y="34"/>
                </a:moveTo>
                <a:cubicBezTo>
                  <a:pt x="5" y="34"/>
                  <a:pt x="4" y="33"/>
                  <a:pt x="4" y="34"/>
                </a:cubicBezTo>
                <a:close/>
                <a:moveTo>
                  <a:pt x="206" y="39"/>
                </a:moveTo>
                <a:cubicBezTo>
                  <a:pt x="206" y="39"/>
                  <a:pt x="206" y="39"/>
                  <a:pt x="206" y="39"/>
                </a:cubicBezTo>
                <a:close/>
                <a:moveTo>
                  <a:pt x="206" y="40"/>
                </a:moveTo>
                <a:cubicBezTo>
                  <a:pt x="207" y="40"/>
                  <a:pt x="206" y="40"/>
                  <a:pt x="206" y="40"/>
                </a:cubicBezTo>
                <a:close/>
                <a:moveTo>
                  <a:pt x="206" y="48"/>
                </a:moveTo>
                <a:cubicBezTo>
                  <a:pt x="207" y="48"/>
                  <a:pt x="206" y="47"/>
                  <a:pt x="206" y="48"/>
                </a:cubicBezTo>
                <a:close/>
                <a:moveTo>
                  <a:pt x="205" y="49"/>
                </a:moveTo>
                <a:cubicBezTo>
                  <a:pt x="206" y="49"/>
                  <a:pt x="205" y="49"/>
                  <a:pt x="205" y="49"/>
                </a:cubicBezTo>
                <a:close/>
                <a:moveTo>
                  <a:pt x="4" y="55"/>
                </a:moveTo>
                <a:cubicBezTo>
                  <a:pt x="5" y="55"/>
                  <a:pt x="4" y="55"/>
                  <a:pt x="4" y="55"/>
                </a:cubicBezTo>
                <a:close/>
                <a:moveTo>
                  <a:pt x="4" y="56"/>
                </a:moveTo>
                <a:cubicBezTo>
                  <a:pt x="5" y="56"/>
                  <a:pt x="4" y="56"/>
                  <a:pt x="4" y="56"/>
                </a:cubicBezTo>
                <a:close/>
                <a:moveTo>
                  <a:pt x="208" y="67"/>
                </a:moveTo>
                <a:cubicBezTo>
                  <a:pt x="208" y="67"/>
                  <a:pt x="208" y="67"/>
                  <a:pt x="208" y="67"/>
                </a:cubicBezTo>
                <a:close/>
                <a:moveTo>
                  <a:pt x="4" y="70"/>
                </a:moveTo>
                <a:cubicBezTo>
                  <a:pt x="5" y="73"/>
                  <a:pt x="3" y="69"/>
                  <a:pt x="4" y="70"/>
                </a:cubicBezTo>
                <a:close/>
                <a:moveTo>
                  <a:pt x="4" y="71"/>
                </a:moveTo>
                <a:cubicBezTo>
                  <a:pt x="5" y="71"/>
                  <a:pt x="4" y="70"/>
                  <a:pt x="4" y="71"/>
                </a:cubicBezTo>
                <a:close/>
                <a:moveTo>
                  <a:pt x="4" y="75"/>
                </a:moveTo>
                <a:cubicBezTo>
                  <a:pt x="5" y="75"/>
                  <a:pt x="4" y="74"/>
                  <a:pt x="4" y="75"/>
                </a:cubicBezTo>
                <a:close/>
                <a:moveTo>
                  <a:pt x="4" y="75"/>
                </a:moveTo>
                <a:cubicBezTo>
                  <a:pt x="4" y="75"/>
                  <a:pt x="4" y="75"/>
                  <a:pt x="4" y="75"/>
                </a:cubicBezTo>
                <a:close/>
                <a:moveTo>
                  <a:pt x="4" y="75"/>
                </a:moveTo>
                <a:cubicBezTo>
                  <a:pt x="5" y="75"/>
                  <a:pt x="4" y="75"/>
                  <a:pt x="4" y="75"/>
                </a:cubicBezTo>
                <a:close/>
                <a:moveTo>
                  <a:pt x="4" y="76"/>
                </a:moveTo>
                <a:cubicBezTo>
                  <a:pt x="4" y="76"/>
                  <a:pt x="4" y="76"/>
                  <a:pt x="4" y="76"/>
                </a:cubicBezTo>
                <a:close/>
                <a:moveTo>
                  <a:pt x="3" y="77"/>
                </a:moveTo>
                <a:cubicBezTo>
                  <a:pt x="3" y="77"/>
                  <a:pt x="3" y="77"/>
                  <a:pt x="3" y="77"/>
                </a:cubicBezTo>
                <a:close/>
                <a:moveTo>
                  <a:pt x="209" y="83"/>
                </a:moveTo>
                <a:cubicBezTo>
                  <a:pt x="209" y="83"/>
                  <a:pt x="208" y="83"/>
                  <a:pt x="209" y="83"/>
                </a:cubicBezTo>
                <a:close/>
                <a:moveTo>
                  <a:pt x="207" y="92"/>
                </a:moveTo>
                <a:cubicBezTo>
                  <a:pt x="207" y="93"/>
                  <a:pt x="207" y="92"/>
                  <a:pt x="207" y="92"/>
                </a:cubicBezTo>
                <a:close/>
                <a:moveTo>
                  <a:pt x="4" y="93"/>
                </a:moveTo>
                <a:cubicBezTo>
                  <a:pt x="4" y="93"/>
                  <a:pt x="4" y="93"/>
                  <a:pt x="4" y="93"/>
                </a:cubicBezTo>
                <a:close/>
                <a:moveTo>
                  <a:pt x="3" y="94"/>
                </a:moveTo>
                <a:cubicBezTo>
                  <a:pt x="4" y="94"/>
                  <a:pt x="3" y="94"/>
                  <a:pt x="3" y="94"/>
                </a:cubicBezTo>
                <a:close/>
                <a:moveTo>
                  <a:pt x="3" y="94"/>
                </a:moveTo>
                <a:cubicBezTo>
                  <a:pt x="3" y="94"/>
                  <a:pt x="3" y="94"/>
                  <a:pt x="3" y="94"/>
                </a:cubicBezTo>
                <a:close/>
                <a:moveTo>
                  <a:pt x="3" y="95"/>
                </a:moveTo>
                <a:cubicBezTo>
                  <a:pt x="3" y="95"/>
                  <a:pt x="3" y="95"/>
                  <a:pt x="3" y="95"/>
                </a:cubicBezTo>
                <a:close/>
                <a:moveTo>
                  <a:pt x="3" y="95"/>
                </a:moveTo>
                <a:cubicBezTo>
                  <a:pt x="3" y="95"/>
                  <a:pt x="2" y="95"/>
                  <a:pt x="3" y="95"/>
                </a:cubicBezTo>
                <a:close/>
                <a:moveTo>
                  <a:pt x="209" y="97"/>
                </a:moveTo>
                <a:cubicBezTo>
                  <a:pt x="209" y="98"/>
                  <a:pt x="208" y="97"/>
                  <a:pt x="209" y="97"/>
                </a:cubicBezTo>
                <a:close/>
                <a:moveTo>
                  <a:pt x="2" y="99"/>
                </a:moveTo>
                <a:cubicBezTo>
                  <a:pt x="2" y="100"/>
                  <a:pt x="2" y="98"/>
                  <a:pt x="2" y="99"/>
                </a:cubicBezTo>
                <a:close/>
                <a:moveTo>
                  <a:pt x="2" y="103"/>
                </a:moveTo>
                <a:cubicBezTo>
                  <a:pt x="2" y="103"/>
                  <a:pt x="2" y="103"/>
                  <a:pt x="2" y="103"/>
                </a:cubicBezTo>
                <a:close/>
                <a:moveTo>
                  <a:pt x="207" y="105"/>
                </a:moveTo>
                <a:cubicBezTo>
                  <a:pt x="207" y="105"/>
                  <a:pt x="207" y="104"/>
                  <a:pt x="207" y="105"/>
                </a:cubicBezTo>
                <a:close/>
                <a:moveTo>
                  <a:pt x="2" y="106"/>
                </a:moveTo>
                <a:cubicBezTo>
                  <a:pt x="2" y="106"/>
                  <a:pt x="1" y="106"/>
                  <a:pt x="2" y="106"/>
                </a:cubicBezTo>
                <a:close/>
                <a:moveTo>
                  <a:pt x="4" y="112"/>
                </a:moveTo>
                <a:cubicBezTo>
                  <a:pt x="4" y="113"/>
                  <a:pt x="4" y="112"/>
                  <a:pt x="4" y="112"/>
                </a:cubicBezTo>
                <a:close/>
                <a:moveTo>
                  <a:pt x="5" y="112"/>
                </a:moveTo>
                <a:cubicBezTo>
                  <a:pt x="5" y="113"/>
                  <a:pt x="5" y="112"/>
                  <a:pt x="5" y="112"/>
                </a:cubicBezTo>
                <a:close/>
                <a:moveTo>
                  <a:pt x="3" y="113"/>
                </a:moveTo>
                <a:cubicBezTo>
                  <a:pt x="4" y="113"/>
                  <a:pt x="3" y="113"/>
                  <a:pt x="3" y="113"/>
                </a:cubicBezTo>
                <a:close/>
                <a:moveTo>
                  <a:pt x="4" y="113"/>
                </a:moveTo>
                <a:cubicBezTo>
                  <a:pt x="4" y="113"/>
                  <a:pt x="4" y="113"/>
                  <a:pt x="4" y="113"/>
                </a:cubicBezTo>
                <a:close/>
                <a:moveTo>
                  <a:pt x="3" y="114"/>
                </a:moveTo>
                <a:cubicBezTo>
                  <a:pt x="4" y="114"/>
                  <a:pt x="3" y="114"/>
                  <a:pt x="3" y="114"/>
                </a:cubicBezTo>
                <a:close/>
                <a:moveTo>
                  <a:pt x="207" y="115"/>
                </a:moveTo>
                <a:cubicBezTo>
                  <a:pt x="208" y="116"/>
                  <a:pt x="208" y="114"/>
                  <a:pt x="207" y="115"/>
                </a:cubicBezTo>
                <a:close/>
                <a:moveTo>
                  <a:pt x="3" y="115"/>
                </a:moveTo>
                <a:cubicBezTo>
                  <a:pt x="3" y="115"/>
                  <a:pt x="3" y="115"/>
                  <a:pt x="3" y="115"/>
                </a:cubicBezTo>
                <a:close/>
                <a:moveTo>
                  <a:pt x="3" y="116"/>
                </a:moveTo>
                <a:cubicBezTo>
                  <a:pt x="3" y="116"/>
                  <a:pt x="2" y="116"/>
                  <a:pt x="3" y="116"/>
                </a:cubicBezTo>
                <a:close/>
                <a:moveTo>
                  <a:pt x="3" y="117"/>
                </a:moveTo>
                <a:cubicBezTo>
                  <a:pt x="3" y="117"/>
                  <a:pt x="2" y="117"/>
                  <a:pt x="3" y="117"/>
                </a:cubicBezTo>
                <a:close/>
                <a:moveTo>
                  <a:pt x="2" y="118"/>
                </a:moveTo>
                <a:cubicBezTo>
                  <a:pt x="2" y="118"/>
                  <a:pt x="2" y="118"/>
                  <a:pt x="2" y="118"/>
                </a:cubicBezTo>
                <a:close/>
                <a:moveTo>
                  <a:pt x="208" y="130"/>
                </a:moveTo>
                <a:cubicBezTo>
                  <a:pt x="208" y="130"/>
                  <a:pt x="208" y="130"/>
                  <a:pt x="208" y="130"/>
                </a:cubicBezTo>
                <a:close/>
                <a:moveTo>
                  <a:pt x="208" y="131"/>
                </a:moveTo>
                <a:cubicBezTo>
                  <a:pt x="208" y="131"/>
                  <a:pt x="208" y="131"/>
                  <a:pt x="208" y="131"/>
                </a:cubicBezTo>
                <a:close/>
                <a:moveTo>
                  <a:pt x="4" y="132"/>
                </a:moveTo>
                <a:cubicBezTo>
                  <a:pt x="4" y="132"/>
                  <a:pt x="4" y="132"/>
                  <a:pt x="4" y="132"/>
                </a:cubicBezTo>
                <a:close/>
                <a:moveTo>
                  <a:pt x="4" y="133"/>
                </a:moveTo>
                <a:cubicBezTo>
                  <a:pt x="4" y="133"/>
                  <a:pt x="4" y="132"/>
                  <a:pt x="4" y="133"/>
                </a:cubicBezTo>
                <a:close/>
                <a:moveTo>
                  <a:pt x="209" y="134"/>
                </a:moveTo>
                <a:cubicBezTo>
                  <a:pt x="209" y="134"/>
                  <a:pt x="209" y="134"/>
                  <a:pt x="209" y="134"/>
                </a:cubicBezTo>
                <a:close/>
                <a:moveTo>
                  <a:pt x="3" y="135"/>
                </a:moveTo>
                <a:cubicBezTo>
                  <a:pt x="3" y="135"/>
                  <a:pt x="3" y="135"/>
                  <a:pt x="3" y="135"/>
                </a:cubicBezTo>
                <a:close/>
                <a:moveTo>
                  <a:pt x="203" y="148"/>
                </a:moveTo>
                <a:cubicBezTo>
                  <a:pt x="203" y="148"/>
                  <a:pt x="203" y="148"/>
                  <a:pt x="203" y="148"/>
                </a:cubicBezTo>
                <a:close/>
                <a:moveTo>
                  <a:pt x="149" y="165"/>
                </a:moveTo>
                <a:cubicBezTo>
                  <a:pt x="150" y="166"/>
                  <a:pt x="150" y="164"/>
                  <a:pt x="149" y="165"/>
                </a:cubicBezTo>
                <a:close/>
                <a:moveTo>
                  <a:pt x="136" y="173"/>
                </a:moveTo>
                <a:cubicBezTo>
                  <a:pt x="137" y="174"/>
                  <a:pt x="135" y="172"/>
                  <a:pt x="136" y="173"/>
                </a:cubicBezTo>
                <a:close/>
                <a:moveTo>
                  <a:pt x="137" y="173"/>
                </a:moveTo>
                <a:cubicBezTo>
                  <a:pt x="137" y="174"/>
                  <a:pt x="137" y="173"/>
                  <a:pt x="137" y="173"/>
                </a:cubicBezTo>
                <a:close/>
                <a:moveTo>
                  <a:pt x="137" y="174"/>
                </a:moveTo>
                <a:cubicBezTo>
                  <a:pt x="137" y="174"/>
                  <a:pt x="136" y="174"/>
                  <a:pt x="137" y="174"/>
                </a:cubicBezTo>
                <a:close/>
                <a:moveTo>
                  <a:pt x="159" y="188"/>
                </a:moveTo>
                <a:cubicBezTo>
                  <a:pt x="159" y="189"/>
                  <a:pt x="159" y="188"/>
                  <a:pt x="159" y="18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>
                <a:solidFill>
                  <a:schemeClr val="bg1"/>
                </a:solidFill>
              </a:rPr>
              <a:t>Palisade Tahoe/  Lake Tahoe</a:t>
            </a:r>
          </a:p>
        </p:txBody>
      </p:sp>
      <p:sp>
        <p:nvSpPr>
          <p:cNvPr id="96" name="Freeform 97">
            <a:extLst>
              <a:ext uri="{FF2B5EF4-FFF2-40B4-BE49-F238E27FC236}">
                <a16:creationId xmlns:a16="http://schemas.microsoft.com/office/drawing/2014/main" id="{EEFD12D6-2216-433F-DF66-909774041EB4}"/>
              </a:ext>
            </a:extLst>
          </p:cNvPr>
          <p:cNvSpPr>
            <a:spLocks noChangeAspect="1"/>
          </p:cNvSpPr>
          <p:nvPr/>
        </p:nvSpPr>
        <p:spPr bwMode="auto">
          <a:xfrm flipH="1">
            <a:off x="10124715" y="5518652"/>
            <a:ext cx="1293576" cy="903427"/>
          </a:xfrm>
          <a:custGeom>
            <a:avLst/>
            <a:gdLst>
              <a:gd name="T0" fmla="*/ 132 w 151"/>
              <a:gd name="T1" fmla="*/ 3 h 126"/>
              <a:gd name="T2" fmla="*/ 148 w 151"/>
              <a:gd name="T3" fmla="*/ 18 h 126"/>
              <a:gd name="T4" fmla="*/ 149 w 151"/>
              <a:gd name="T5" fmla="*/ 26 h 126"/>
              <a:gd name="T6" fmla="*/ 148 w 151"/>
              <a:gd name="T7" fmla="*/ 41 h 126"/>
              <a:gd name="T8" fmla="*/ 149 w 151"/>
              <a:gd name="T9" fmla="*/ 53 h 126"/>
              <a:gd name="T10" fmla="*/ 146 w 151"/>
              <a:gd name="T11" fmla="*/ 73 h 126"/>
              <a:gd name="T12" fmla="*/ 147 w 151"/>
              <a:gd name="T13" fmla="*/ 73 h 126"/>
              <a:gd name="T14" fmla="*/ 146 w 151"/>
              <a:gd name="T15" fmla="*/ 78 h 126"/>
              <a:gd name="T16" fmla="*/ 148 w 151"/>
              <a:gd name="T17" fmla="*/ 82 h 126"/>
              <a:gd name="T18" fmla="*/ 144 w 151"/>
              <a:gd name="T19" fmla="*/ 90 h 126"/>
              <a:gd name="T20" fmla="*/ 128 w 151"/>
              <a:gd name="T21" fmla="*/ 97 h 126"/>
              <a:gd name="T22" fmla="*/ 121 w 151"/>
              <a:gd name="T23" fmla="*/ 98 h 126"/>
              <a:gd name="T24" fmla="*/ 100 w 151"/>
              <a:gd name="T25" fmla="*/ 98 h 126"/>
              <a:gd name="T26" fmla="*/ 94 w 151"/>
              <a:gd name="T27" fmla="*/ 96 h 126"/>
              <a:gd name="T28" fmla="*/ 80 w 151"/>
              <a:gd name="T29" fmla="*/ 103 h 126"/>
              <a:gd name="T30" fmla="*/ 71 w 151"/>
              <a:gd name="T31" fmla="*/ 109 h 126"/>
              <a:gd name="T32" fmla="*/ 45 w 151"/>
              <a:gd name="T33" fmla="*/ 125 h 126"/>
              <a:gd name="T34" fmla="*/ 47 w 151"/>
              <a:gd name="T35" fmla="*/ 122 h 126"/>
              <a:gd name="T36" fmla="*/ 52 w 151"/>
              <a:gd name="T37" fmla="*/ 108 h 126"/>
              <a:gd name="T38" fmla="*/ 55 w 151"/>
              <a:gd name="T39" fmla="*/ 99 h 126"/>
              <a:gd name="T40" fmla="*/ 31 w 151"/>
              <a:gd name="T41" fmla="*/ 96 h 126"/>
              <a:gd name="T42" fmla="*/ 6 w 151"/>
              <a:gd name="T43" fmla="*/ 92 h 126"/>
              <a:gd name="T44" fmla="*/ 2 w 151"/>
              <a:gd name="T45" fmla="*/ 85 h 126"/>
              <a:gd name="T46" fmla="*/ 3 w 151"/>
              <a:gd name="T47" fmla="*/ 81 h 126"/>
              <a:gd name="T48" fmla="*/ 0 w 151"/>
              <a:gd name="T49" fmla="*/ 52 h 126"/>
              <a:gd name="T50" fmla="*/ 0 w 151"/>
              <a:gd name="T51" fmla="*/ 18 h 126"/>
              <a:gd name="T52" fmla="*/ 2 w 151"/>
              <a:gd name="T53" fmla="*/ 9 h 126"/>
              <a:gd name="T54" fmla="*/ 6 w 151"/>
              <a:gd name="T55" fmla="*/ 4 h 126"/>
              <a:gd name="T56" fmla="*/ 17 w 151"/>
              <a:gd name="T57" fmla="*/ 3 h 126"/>
              <a:gd name="T58" fmla="*/ 43 w 151"/>
              <a:gd name="T59" fmla="*/ 3 h 126"/>
              <a:gd name="T60" fmla="*/ 61 w 151"/>
              <a:gd name="T61" fmla="*/ 2 h 126"/>
              <a:gd name="T62" fmla="*/ 84 w 151"/>
              <a:gd name="T63" fmla="*/ 3 h 126"/>
              <a:gd name="T64" fmla="*/ 118 w 151"/>
              <a:gd name="T65" fmla="*/ 1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51" h="126">
                <a:moveTo>
                  <a:pt x="118" y="0"/>
                </a:moveTo>
                <a:cubicBezTo>
                  <a:pt x="123" y="2"/>
                  <a:pt x="127" y="1"/>
                  <a:pt x="132" y="3"/>
                </a:cubicBezTo>
                <a:cubicBezTo>
                  <a:pt x="132" y="1"/>
                  <a:pt x="136" y="6"/>
                  <a:pt x="137" y="3"/>
                </a:cubicBezTo>
                <a:cubicBezTo>
                  <a:pt x="144" y="5"/>
                  <a:pt x="146" y="14"/>
                  <a:pt x="148" y="18"/>
                </a:cubicBezTo>
                <a:cubicBezTo>
                  <a:pt x="147" y="21"/>
                  <a:pt x="148" y="23"/>
                  <a:pt x="148" y="25"/>
                </a:cubicBezTo>
                <a:cubicBezTo>
                  <a:pt x="148" y="26"/>
                  <a:pt x="149" y="25"/>
                  <a:pt x="149" y="26"/>
                </a:cubicBezTo>
                <a:cubicBezTo>
                  <a:pt x="151" y="28"/>
                  <a:pt x="149" y="29"/>
                  <a:pt x="148" y="32"/>
                </a:cubicBezTo>
                <a:cubicBezTo>
                  <a:pt x="149" y="35"/>
                  <a:pt x="149" y="38"/>
                  <a:pt x="148" y="41"/>
                </a:cubicBezTo>
                <a:cubicBezTo>
                  <a:pt x="150" y="43"/>
                  <a:pt x="151" y="44"/>
                  <a:pt x="148" y="46"/>
                </a:cubicBezTo>
                <a:cubicBezTo>
                  <a:pt x="148" y="48"/>
                  <a:pt x="148" y="52"/>
                  <a:pt x="149" y="53"/>
                </a:cubicBezTo>
                <a:cubicBezTo>
                  <a:pt x="147" y="59"/>
                  <a:pt x="148" y="65"/>
                  <a:pt x="147" y="73"/>
                </a:cubicBezTo>
                <a:cubicBezTo>
                  <a:pt x="147" y="73"/>
                  <a:pt x="146" y="73"/>
                  <a:pt x="146" y="73"/>
                </a:cubicBezTo>
                <a:cubicBezTo>
                  <a:pt x="146" y="73"/>
                  <a:pt x="147" y="74"/>
                  <a:pt x="147" y="74"/>
                </a:cubicBezTo>
                <a:cubicBezTo>
                  <a:pt x="147" y="74"/>
                  <a:pt x="147" y="74"/>
                  <a:pt x="147" y="73"/>
                </a:cubicBezTo>
                <a:cubicBezTo>
                  <a:pt x="148" y="74"/>
                  <a:pt x="148" y="78"/>
                  <a:pt x="146" y="77"/>
                </a:cubicBezTo>
                <a:cubicBezTo>
                  <a:pt x="146" y="77"/>
                  <a:pt x="146" y="78"/>
                  <a:pt x="146" y="78"/>
                </a:cubicBezTo>
                <a:cubicBezTo>
                  <a:pt x="146" y="79"/>
                  <a:pt x="147" y="78"/>
                  <a:pt x="148" y="79"/>
                </a:cubicBezTo>
                <a:cubicBezTo>
                  <a:pt x="147" y="79"/>
                  <a:pt x="148" y="81"/>
                  <a:pt x="148" y="82"/>
                </a:cubicBezTo>
                <a:cubicBezTo>
                  <a:pt x="144" y="84"/>
                  <a:pt x="146" y="88"/>
                  <a:pt x="143" y="88"/>
                </a:cubicBezTo>
                <a:cubicBezTo>
                  <a:pt x="144" y="89"/>
                  <a:pt x="142" y="90"/>
                  <a:pt x="144" y="90"/>
                </a:cubicBezTo>
                <a:cubicBezTo>
                  <a:pt x="142" y="92"/>
                  <a:pt x="141" y="94"/>
                  <a:pt x="139" y="95"/>
                </a:cubicBezTo>
                <a:cubicBezTo>
                  <a:pt x="135" y="97"/>
                  <a:pt x="132" y="96"/>
                  <a:pt x="128" y="97"/>
                </a:cubicBezTo>
                <a:cubicBezTo>
                  <a:pt x="127" y="97"/>
                  <a:pt x="126" y="96"/>
                  <a:pt x="125" y="96"/>
                </a:cubicBezTo>
                <a:cubicBezTo>
                  <a:pt x="123" y="97"/>
                  <a:pt x="123" y="98"/>
                  <a:pt x="121" y="98"/>
                </a:cubicBezTo>
                <a:cubicBezTo>
                  <a:pt x="119" y="96"/>
                  <a:pt x="116" y="95"/>
                  <a:pt x="113" y="97"/>
                </a:cubicBezTo>
                <a:cubicBezTo>
                  <a:pt x="110" y="94"/>
                  <a:pt x="103" y="95"/>
                  <a:pt x="100" y="98"/>
                </a:cubicBezTo>
                <a:cubicBezTo>
                  <a:pt x="98" y="97"/>
                  <a:pt x="97" y="96"/>
                  <a:pt x="95" y="95"/>
                </a:cubicBezTo>
                <a:cubicBezTo>
                  <a:pt x="95" y="95"/>
                  <a:pt x="95" y="96"/>
                  <a:pt x="94" y="96"/>
                </a:cubicBezTo>
                <a:cubicBezTo>
                  <a:pt x="93" y="97"/>
                  <a:pt x="90" y="96"/>
                  <a:pt x="90" y="98"/>
                </a:cubicBezTo>
                <a:cubicBezTo>
                  <a:pt x="86" y="98"/>
                  <a:pt x="83" y="103"/>
                  <a:pt x="80" y="103"/>
                </a:cubicBezTo>
                <a:cubicBezTo>
                  <a:pt x="78" y="105"/>
                  <a:pt x="74" y="106"/>
                  <a:pt x="73" y="109"/>
                </a:cubicBezTo>
                <a:cubicBezTo>
                  <a:pt x="72" y="108"/>
                  <a:pt x="72" y="109"/>
                  <a:pt x="71" y="109"/>
                </a:cubicBezTo>
                <a:cubicBezTo>
                  <a:pt x="66" y="115"/>
                  <a:pt x="56" y="117"/>
                  <a:pt x="51" y="125"/>
                </a:cubicBezTo>
                <a:cubicBezTo>
                  <a:pt x="50" y="124"/>
                  <a:pt x="47" y="126"/>
                  <a:pt x="45" y="125"/>
                </a:cubicBezTo>
                <a:cubicBezTo>
                  <a:pt x="45" y="124"/>
                  <a:pt x="46" y="123"/>
                  <a:pt x="47" y="121"/>
                </a:cubicBezTo>
                <a:cubicBezTo>
                  <a:pt x="47" y="122"/>
                  <a:pt x="46" y="122"/>
                  <a:pt x="47" y="122"/>
                </a:cubicBezTo>
                <a:cubicBezTo>
                  <a:pt x="48" y="121"/>
                  <a:pt x="47" y="117"/>
                  <a:pt x="49" y="118"/>
                </a:cubicBezTo>
                <a:cubicBezTo>
                  <a:pt x="49" y="115"/>
                  <a:pt x="52" y="112"/>
                  <a:pt x="52" y="108"/>
                </a:cubicBezTo>
                <a:cubicBezTo>
                  <a:pt x="55" y="105"/>
                  <a:pt x="55" y="103"/>
                  <a:pt x="57" y="99"/>
                </a:cubicBezTo>
                <a:cubicBezTo>
                  <a:pt x="56" y="99"/>
                  <a:pt x="56" y="99"/>
                  <a:pt x="55" y="99"/>
                </a:cubicBezTo>
                <a:cubicBezTo>
                  <a:pt x="53" y="96"/>
                  <a:pt x="44" y="95"/>
                  <a:pt x="40" y="98"/>
                </a:cubicBezTo>
                <a:cubicBezTo>
                  <a:pt x="38" y="96"/>
                  <a:pt x="33" y="98"/>
                  <a:pt x="31" y="96"/>
                </a:cubicBezTo>
                <a:cubicBezTo>
                  <a:pt x="27" y="98"/>
                  <a:pt x="20" y="96"/>
                  <a:pt x="17" y="98"/>
                </a:cubicBezTo>
                <a:cubicBezTo>
                  <a:pt x="14" y="95"/>
                  <a:pt x="10" y="96"/>
                  <a:pt x="6" y="92"/>
                </a:cubicBezTo>
                <a:cubicBezTo>
                  <a:pt x="6" y="90"/>
                  <a:pt x="6" y="90"/>
                  <a:pt x="4" y="89"/>
                </a:cubicBezTo>
                <a:cubicBezTo>
                  <a:pt x="6" y="88"/>
                  <a:pt x="4" y="86"/>
                  <a:pt x="2" y="85"/>
                </a:cubicBezTo>
                <a:cubicBezTo>
                  <a:pt x="3" y="84"/>
                  <a:pt x="2" y="82"/>
                  <a:pt x="2" y="81"/>
                </a:cubicBezTo>
                <a:cubicBezTo>
                  <a:pt x="3" y="82"/>
                  <a:pt x="2" y="80"/>
                  <a:pt x="3" y="81"/>
                </a:cubicBezTo>
                <a:cubicBezTo>
                  <a:pt x="1" y="73"/>
                  <a:pt x="2" y="64"/>
                  <a:pt x="1" y="54"/>
                </a:cubicBezTo>
                <a:cubicBezTo>
                  <a:pt x="1" y="53"/>
                  <a:pt x="1" y="53"/>
                  <a:pt x="0" y="52"/>
                </a:cubicBezTo>
                <a:cubicBezTo>
                  <a:pt x="0" y="52"/>
                  <a:pt x="1" y="52"/>
                  <a:pt x="1" y="52"/>
                </a:cubicBezTo>
                <a:cubicBezTo>
                  <a:pt x="2" y="38"/>
                  <a:pt x="0" y="31"/>
                  <a:pt x="0" y="18"/>
                </a:cubicBezTo>
                <a:cubicBezTo>
                  <a:pt x="0" y="18"/>
                  <a:pt x="1" y="17"/>
                  <a:pt x="0" y="17"/>
                </a:cubicBezTo>
                <a:cubicBezTo>
                  <a:pt x="0" y="15"/>
                  <a:pt x="2" y="12"/>
                  <a:pt x="2" y="9"/>
                </a:cubicBezTo>
                <a:cubicBezTo>
                  <a:pt x="3" y="7"/>
                  <a:pt x="4" y="5"/>
                  <a:pt x="6" y="5"/>
                </a:cubicBezTo>
                <a:cubicBezTo>
                  <a:pt x="6" y="5"/>
                  <a:pt x="6" y="4"/>
                  <a:pt x="6" y="4"/>
                </a:cubicBezTo>
                <a:cubicBezTo>
                  <a:pt x="10" y="3"/>
                  <a:pt x="16" y="4"/>
                  <a:pt x="17" y="2"/>
                </a:cubicBezTo>
                <a:cubicBezTo>
                  <a:pt x="18" y="2"/>
                  <a:pt x="17" y="2"/>
                  <a:pt x="17" y="3"/>
                </a:cubicBezTo>
                <a:cubicBezTo>
                  <a:pt x="18" y="2"/>
                  <a:pt x="19" y="1"/>
                  <a:pt x="20" y="3"/>
                </a:cubicBezTo>
                <a:cubicBezTo>
                  <a:pt x="29" y="2"/>
                  <a:pt x="35" y="1"/>
                  <a:pt x="43" y="3"/>
                </a:cubicBezTo>
                <a:cubicBezTo>
                  <a:pt x="44" y="1"/>
                  <a:pt x="47" y="2"/>
                  <a:pt x="47" y="1"/>
                </a:cubicBezTo>
                <a:cubicBezTo>
                  <a:pt x="51" y="2"/>
                  <a:pt x="59" y="2"/>
                  <a:pt x="61" y="2"/>
                </a:cubicBezTo>
                <a:cubicBezTo>
                  <a:pt x="68" y="4"/>
                  <a:pt x="78" y="2"/>
                  <a:pt x="84" y="3"/>
                </a:cubicBezTo>
                <a:cubicBezTo>
                  <a:pt x="84" y="3"/>
                  <a:pt x="84" y="3"/>
                  <a:pt x="84" y="3"/>
                </a:cubicBezTo>
                <a:cubicBezTo>
                  <a:pt x="88" y="2"/>
                  <a:pt x="91" y="4"/>
                  <a:pt x="95" y="2"/>
                </a:cubicBezTo>
                <a:cubicBezTo>
                  <a:pt x="101" y="2"/>
                  <a:pt x="112" y="1"/>
                  <a:pt x="118" y="1"/>
                </a:cubicBezTo>
                <a:cubicBezTo>
                  <a:pt x="118" y="1"/>
                  <a:pt x="118" y="1"/>
                  <a:pt x="118" y="0"/>
                </a:cubicBezTo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 dirty="0">
              <a:solidFill>
                <a:schemeClr val="bg1"/>
              </a:solidFill>
            </a:endParaRP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gear</a:t>
            </a:r>
          </a:p>
        </p:txBody>
      </p:sp>
      <p:sp>
        <p:nvSpPr>
          <p:cNvPr id="97" name="Freeform 91">
            <a:extLst>
              <a:ext uri="{FF2B5EF4-FFF2-40B4-BE49-F238E27FC236}">
                <a16:creationId xmlns:a16="http://schemas.microsoft.com/office/drawing/2014/main" id="{B1BEA5A9-29F4-79C1-71C8-E0272A31180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744660" y="3273585"/>
            <a:ext cx="1419766" cy="962321"/>
          </a:xfrm>
          <a:custGeom>
            <a:avLst/>
            <a:gdLst>
              <a:gd name="T0" fmla="*/ 171 w 211"/>
              <a:gd name="T1" fmla="*/ 3 h 190"/>
              <a:gd name="T2" fmla="*/ 194 w 211"/>
              <a:gd name="T3" fmla="*/ 6 h 190"/>
              <a:gd name="T4" fmla="*/ 207 w 211"/>
              <a:gd name="T5" fmla="*/ 22 h 190"/>
              <a:gd name="T6" fmla="*/ 208 w 211"/>
              <a:gd name="T7" fmla="*/ 42 h 190"/>
              <a:gd name="T8" fmla="*/ 209 w 211"/>
              <a:gd name="T9" fmla="*/ 65 h 190"/>
              <a:gd name="T10" fmla="*/ 209 w 211"/>
              <a:gd name="T11" fmla="*/ 83 h 190"/>
              <a:gd name="T12" fmla="*/ 210 w 211"/>
              <a:gd name="T13" fmla="*/ 102 h 190"/>
              <a:gd name="T14" fmla="*/ 208 w 211"/>
              <a:gd name="T15" fmla="*/ 114 h 190"/>
              <a:gd name="T16" fmla="*/ 209 w 211"/>
              <a:gd name="T17" fmla="*/ 134 h 190"/>
              <a:gd name="T18" fmla="*/ 196 w 211"/>
              <a:gd name="T19" fmla="*/ 151 h 190"/>
              <a:gd name="T20" fmla="*/ 167 w 211"/>
              <a:gd name="T21" fmla="*/ 153 h 190"/>
              <a:gd name="T22" fmla="*/ 147 w 211"/>
              <a:gd name="T23" fmla="*/ 161 h 190"/>
              <a:gd name="T24" fmla="*/ 156 w 211"/>
              <a:gd name="T25" fmla="*/ 180 h 190"/>
              <a:gd name="T26" fmla="*/ 148 w 211"/>
              <a:gd name="T27" fmla="*/ 183 h 190"/>
              <a:gd name="T28" fmla="*/ 121 w 211"/>
              <a:gd name="T29" fmla="*/ 165 h 190"/>
              <a:gd name="T30" fmla="*/ 84 w 211"/>
              <a:gd name="T31" fmla="*/ 156 h 190"/>
              <a:gd name="T32" fmla="*/ 69 w 211"/>
              <a:gd name="T33" fmla="*/ 152 h 190"/>
              <a:gd name="T34" fmla="*/ 11 w 211"/>
              <a:gd name="T35" fmla="*/ 151 h 190"/>
              <a:gd name="T36" fmla="*/ 2 w 211"/>
              <a:gd name="T37" fmla="*/ 124 h 190"/>
              <a:gd name="T38" fmla="*/ 2 w 211"/>
              <a:gd name="T39" fmla="*/ 108 h 190"/>
              <a:gd name="T40" fmla="*/ 2 w 211"/>
              <a:gd name="T41" fmla="*/ 99 h 190"/>
              <a:gd name="T42" fmla="*/ 3 w 211"/>
              <a:gd name="T43" fmla="*/ 93 h 190"/>
              <a:gd name="T44" fmla="*/ 3 w 211"/>
              <a:gd name="T45" fmla="*/ 75 h 190"/>
              <a:gd name="T46" fmla="*/ 4 w 211"/>
              <a:gd name="T47" fmla="*/ 69 h 190"/>
              <a:gd name="T48" fmla="*/ 4 w 211"/>
              <a:gd name="T49" fmla="*/ 50 h 190"/>
              <a:gd name="T50" fmla="*/ 5 w 211"/>
              <a:gd name="T51" fmla="*/ 30 h 190"/>
              <a:gd name="T52" fmla="*/ 6 w 211"/>
              <a:gd name="T53" fmla="*/ 16 h 190"/>
              <a:gd name="T54" fmla="*/ 10 w 211"/>
              <a:gd name="T55" fmla="*/ 7 h 190"/>
              <a:gd name="T56" fmla="*/ 21 w 211"/>
              <a:gd name="T57" fmla="*/ 4 h 190"/>
              <a:gd name="T58" fmla="*/ 55 w 211"/>
              <a:gd name="T59" fmla="*/ 4 h 190"/>
              <a:gd name="T60" fmla="*/ 73 w 211"/>
              <a:gd name="T61" fmla="*/ 2 h 190"/>
              <a:gd name="T62" fmla="*/ 109 w 211"/>
              <a:gd name="T63" fmla="*/ 2 h 190"/>
              <a:gd name="T64" fmla="*/ 202 w 211"/>
              <a:gd name="T65" fmla="*/ 148 h 190"/>
              <a:gd name="T66" fmla="*/ 9 w 211"/>
              <a:gd name="T67" fmla="*/ 10 h 190"/>
              <a:gd name="T68" fmla="*/ 182 w 211"/>
              <a:gd name="T69" fmla="*/ 2 h 190"/>
              <a:gd name="T70" fmla="*/ 67 w 211"/>
              <a:gd name="T71" fmla="*/ 3 h 190"/>
              <a:gd name="T72" fmla="*/ 44 w 211"/>
              <a:gd name="T73" fmla="*/ 4 h 190"/>
              <a:gd name="T74" fmla="*/ 27 w 211"/>
              <a:gd name="T75" fmla="*/ 4 h 190"/>
              <a:gd name="T76" fmla="*/ 26 w 211"/>
              <a:gd name="T77" fmla="*/ 4 h 190"/>
              <a:gd name="T78" fmla="*/ 19 w 211"/>
              <a:gd name="T79" fmla="*/ 6 h 190"/>
              <a:gd name="T80" fmla="*/ 10 w 211"/>
              <a:gd name="T81" fmla="*/ 9 h 190"/>
              <a:gd name="T82" fmla="*/ 8 w 211"/>
              <a:gd name="T83" fmla="*/ 11 h 190"/>
              <a:gd name="T84" fmla="*/ 6 w 211"/>
              <a:gd name="T85" fmla="*/ 18 h 190"/>
              <a:gd name="T86" fmla="*/ 206 w 211"/>
              <a:gd name="T87" fmla="*/ 22 h 190"/>
              <a:gd name="T88" fmla="*/ 4 w 211"/>
              <a:gd name="T89" fmla="*/ 34 h 190"/>
              <a:gd name="T90" fmla="*/ 205 w 211"/>
              <a:gd name="T91" fmla="*/ 49 h 190"/>
              <a:gd name="T92" fmla="*/ 4 w 211"/>
              <a:gd name="T93" fmla="*/ 70 h 190"/>
              <a:gd name="T94" fmla="*/ 4 w 211"/>
              <a:gd name="T95" fmla="*/ 75 h 190"/>
              <a:gd name="T96" fmla="*/ 207 w 211"/>
              <a:gd name="T97" fmla="*/ 92 h 190"/>
              <a:gd name="T98" fmla="*/ 3 w 211"/>
              <a:gd name="T99" fmla="*/ 95 h 190"/>
              <a:gd name="T100" fmla="*/ 2 w 211"/>
              <a:gd name="T101" fmla="*/ 103 h 190"/>
              <a:gd name="T102" fmla="*/ 5 w 211"/>
              <a:gd name="T103" fmla="*/ 112 h 190"/>
              <a:gd name="T104" fmla="*/ 207 w 211"/>
              <a:gd name="T105" fmla="*/ 115 h 190"/>
              <a:gd name="T106" fmla="*/ 2 w 211"/>
              <a:gd name="T107" fmla="*/ 118 h 190"/>
              <a:gd name="T108" fmla="*/ 4 w 211"/>
              <a:gd name="T109" fmla="*/ 133 h 190"/>
              <a:gd name="T110" fmla="*/ 149 w 211"/>
              <a:gd name="T111" fmla="*/ 165 h 190"/>
              <a:gd name="T112" fmla="*/ 159 w 211"/>
              <a:gd name="T113" fmla="*/ 188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11" h="190">
                <a:moveTo>
                  <a:pt x="124" y="1"/>
                </a:moveTo>
                <a:cubicBezTo>
                  <a:pt x="125" y="1"/>
                  <a:pt x="124" y="1"/>
                  <a:pt x="124" y="1"/>
                </a:cubicBezTo>
                <a:cubicBezTo>
                  <a:pt x="132" y="0"/>
                  <a:pt x="142" y="2"/>
                  <a:pt x="154" y="1"/>
                </a:cubicBezTo>
                <a:cubicBezTo>
                  <a:pt x="154" y="1"/>
                  <a:pt x="153" y="1"/>
                  <a:pt x="153" y="1"/>
                </a:cubicBezTo>
                <a:cubicBezTo>
                  <a:pt x="154" y="1"/>
                  <a:pt x="154" y="1"/>
                  <a:pt x="154" y="2"/>
                </a:cubicBezTo>
                <a:cubicBezTo>
                  <a:pt x="154" y="1"/>
                  <a:pt x="155" y="1"/>
                  <a:pt x="155" y="2"/>
                </a:cubicBezTo>
                <a:cubicBezTo>
                  <a:pt x="156" y="1"/>
                  <a:pt x="165" y="0"/>
                  <a:pt x="166" y="3"/>
                </a:cubicBezTo>
                <a:cubicBezTo>
                  <a:pt x="167" y="1"/>
                  <a:pt x="170" y="4"/>
                  <a:pt x="171" y="3"/>
                </a:cubicBezTo>
                <a:cubicBezTo>
                  <a:pt x="172" y="3"/>
                  <a:pt x="172" y="4"/>
                  <a:pt x="174" y="3"/>
                </a:cubicBezTo>
                <a:cubicBezTo>
                  <a:pt x="174" y="2"/>
                  <a:pt x="172" y="4"/>
                  <a:pt x="172" y="3"/>
                </a:cubicBezTo>
                <a:cubicBezTo>
                  <a:pt x="171" y="3"/>
                  <a:pt x="175" y="2"/>
                  <a:pt x="175" y="3"/>
                </a:cubicBezTo>
                <a:cubicBezTo>
                  <a:pt x="176" y="2"/>
                  <a:pt x="179" y="3"/>
                  <a:pt x="180" y="2"/>
                </a:cubicBezTo>
                <a:cubicBezTo>
                  <a:pt x="181" y="2"/>
                  <a:pt x="188" y="2"/>
                  <a:pt x="188" y="4"/>
                </a:cubicBezTo>
                <a:cubicBezTo>
                  <a:pt x="189" y="3"/>
                  <a:pt x="189" y="4"/>
                  <a:pt x="189" y="4"/>
                </a:cubicBezTo>
                <a:cubicBezTo>
                  <a:pt x="191" y="4"/>
                  <a:pt x="192" y="5"/>
                  <a:pt x="195" y="4"/>
                </a:cubicBezTo>
                <a:cubicBezTo>
                  <a:pt x="194" y="5"/>
                  <a:pt x="195" y="5"/>
                  <a:pt x="194" y="6"/>
                </a:cubicBezTo>
                <a:cubicBezTo>
                  <a:pt x="196" y="8"/>
                  <a:pt x="202" y="6"/>
                  <a:pt x="202" y="8"/>
                </a:cubicBezTo>
                <a:cubicBezTo>
                  <a:pt x="202" y="8"/>
                  <a:pt x="202" y="8"/>
                  <a:pt x="203" y="8"/>
                </a:cubicBezTo>
                <a:cubicBezTo>
                  <a:pt x="203" y="8"/>
                  <a:pt x="203" y="8"/>
                  <a:pt x="202" y="8"/>
                </a:cubicBezTo>
                <a:cubicBezTo>
                  <a:pt x="204" y="9"/>
                  <a:pt x="205" y="11"/>
                  <a:pt x="207" y="12"/>
                </a:cubicBezTo>
                <a:cubicBezTo>
                  <a:pt x="206" y="13"/>
                  <a:pt x="207" y="13"/>
                  <a:pt x="208" y="14"/>
                </a:cubicBezTo>
                <a:cubicBezTo>
                  <a:pt x="207" y="16"/>
                  <a:pt x="207" y="17"/>
                  <a:pt x="208" y="19"/>
                </a:cubicBezTo>
                <a:cubicBezTo>
                  <a:pt x="208" y="19"/>
                  <a:pt x="208" y="19"/>
                  <a:pt x="207" y="19"/>
                </a:cubicBezTo>
                <a:cubicBezTo>
                  <a:pt x="207" y="20"/>
                  <a:pt x="208" y="21"/>
                  <a:pt x="207" y="22"/>
                </a:cubicBezTo>
                <a:cubicBezTo>
                  <a:pt x="210" y="24"/>
                  <a:pt x="209" y="27"/>
                  <a:pt x="209" y="30"/>
                </a:cubicBezTo>
                <a:cubicBezTo>
                  <a:pt x="207" y="29"/>
                  <a:pt x="208" y="31"/>
                  <a:pt x="207" y="32"/>
                </a:cubicBezTo>
                <a:cubicBezTo>
                  <a:pt x="208" y="32"/>
                  <a:pt x="207" y="32"/>
                  <a:pt x="207" y="33"/>
                </a:cubicBezTo>
                <a:cubicBezTo>
                  <a:pt x="208" y="33"/>
                  <a:pt x="209" y="35"/>
                  <a:pt x="209" y="37"/>
                </a:cubicBezTo>
                <a:cubicBezTo>
                  <a:pt x="209" y="38"/>
                  <a:pt x="208" y="37"/>
                  <a:pt x="208" y="38"/>
                </a:cubicBezTo>
                <a:cubicBezTo>
                  <a:pt x="208" y="37"/>
                  <a:pt x="207" y="40"/>
                  <a:pt x="207" y="38"/>
                </a:cubicBezTo>
                <a:cubicBezTo>
                  <a:pt x="206" y="38"/>
                  <a:pt x="207" y="40"/>
                  <a:pt x="208" y="39"/>
                </a:cubicBezTo>
                <a:cubicBezTo>
                  <a:pt x="207" y="40"/>
                  <a:pt x="207" y="41"/>
                  <a:pt x="208" y="42"/>
                </a:cubicBezTo>
                <a:cubicBezTo>
                  <a:pt x="208" y="42"/>
                  <a:pt x="207" y="42"/>
                  <a:pt x="206" y="42"/>
                </a:cubicBezTo>
                <a:cubicBezTo>
                  <a:pt x="206" y="43"/>
                  <a:pt x="207" y="43"/>
                  <a:pt x="207" y="42"/>
                </a:cubicBezTo>
                <a:cubicBezTo>
                  <a:pt x="207" y="45"/>
                  <a:pt x="208" y="46"/>
                  <a:pt x="207" y="48"/>
                </a:cubicBezTo>
                <a:cubicBezTo>
                  <a:pt x="206" y="48"/>
                  <a:pt x="207" y="50"/>
                  <a:pt x="206" y="49"/>
                </a:cubicBezTo>
                <a:cubicBezTo>
                  <a:pt x="206" y="49"/>
                  <a:pt x="206" y="50"/>
                  <a:pt x="205" y="50"/>
                </a:cubicBezTo>
                <a:cubicBezTo>
                  <a:pt x="208" y="51"/>
                  <a:pt x="206" y="55"/>
                  <a:pt x="209" y="56"/>
                </a:cubicBezTo>
                <a:cubicBezTo>
                  <a:pt x="208" y="56"/>
                  <a:pt x="208" y="56"/>
                  <a:pt x="208" y="56"/>
                </a:cubicBezTo>
                <a:cubicBezTo>
                  <a:pt x="210" y="59"/>
                  <a:pt x="208" y="61"/>
                  <a:pt x="209" y="65"/>
                </a:cubicBezTo>
                <a:cubicBezTo>
                  <a:pt x="209" y="66"/>
                  <a:pt x="209" y="65"/>
                  <a:pt x="208" y="65"/>
                </a:cubicBezTo>
                <a:cubicBezTo>
                  <a:pt x="208" y="65"/>
                  <a:pt x="209" y="65"/>
                  <a:pt x="209" y="66"/>
                </a:cubicBezTo>
                <a:cubicBezTo>
                  <a:pt x="208" y="65"/>
                  <a:pt x="208" y="67"/>
                  <a:pt x="209" y="68"/>
                </a:cubicBezTo>
                <a:cubicBezTo>
                  <a:pt x="208" y="68"/>
                  <a:pt x="208" y="68"/>
                  <a:pt x="208" y="67"/>
                </a:cubicBezTo>
                <a:cubicBezTo>
                  <a:pt x="207" y="68"/>
                  <a:pt x="209" y="69"/>
                  <a:pt x="209" y="70"/>
                </a:cubicBezTo>
                <a:cubicBezTo>
                  <a:pt x="207" y="74"/>
                  <a:pt x="210" y="77"/>
                  <a:pt x="209" y="82"/>
                </a:cubicBezTo>
                <a:cubicBezTo>
                  <a:pt x="211" y="81"/>
                  <a:pt x="208" y="82"/>
                  <a:pt x="210" y="82"/>
                </a:cubicBezTo>
                <a:cubicBezTo>
                  <a:pt x="209" y="83"/>
                  <a:pt x="209" y="83"/>
                  <a:pt x="209" y="83"/>
                </a:cubicBezTo>
                <a:cubicBezTo>
                  <a:pt x="209" y="84"/>
                  <a:pt x="209" y="86"/>
                  <a:pt x="209" y="87"/>
                </a:cubicBezTo>
                <a:cubicBezTo>
                  <a:pt x="209" y="88"/>
                  <a:pt x="209" y="88"/>
                  <a:pt x="209" y="89"/>
                </a:cubicBezTo>
                <a:cubicBezTo>
                  <a:pt x="209" y="89"/>
                  <a:pt x="209" y="89"/>
                  <a:pt x="209" y="89"/>
                </a:cubicBezTo>
                <a:cubicBezTo>
                  <a:pt x="209" y="89"/>
                  <a:pt x="209" y="90"/>
                  <a:pt x="208" y="90"/>
                </a:cubicBezTo>
                <a:cubicBezTo>
                  <a:pt x="208" y="92"/>
                  <a:pt x="208" y="93"/>
                  <a:pt x="207" y="94"/>
                </a:cubicBezTo>
                <a:cubicBezTo>
                  <a:pt x="207" y="94"/>
                  <a:pt x="208" y="94"/>
                  <a:pt x="208" y="94"/>
                </a:cubicBezTo>
                <a:cubicBezTo>
                  <a:pt x="209" y="94"/>
                  <a:pt x="208" y="95"/>
                  <a:pt x="209" y="95"/>
                </a:cubicBezTo>
                <a:cubicBezTo>
                  <a:pt x="209" y="98"/>
                  <a:pt x="210" y="100"/>
                  <a:pt x="210" y="102"/>
                </a:cubicBezTo>
                <a:cubicBezTo>
                  <a:pt x="210" y="103"/>
                  <a:pt x="209" y="103"/>
                  <a:pt x="209" y="104"/>
                </a:cubicBezTo>
                <a:cubicBezTo>
                  <a:pt x="208" y="104"/>
                  <a:pt x="208" y="103"/>
                  <a:pt x="208" y="103"/>
                </a:cubicBezTo>
                <a:cubicBezTo>
                  <a:pt x="208" y="104"/>
                  <a:pt x="209" y="107"/>
                  <a:pt x="209" y="106"/>
                </a:cubicBezTo>
                <a:cubicBezTo>
                  <a:pt x="210" y="106"/>
                  <a:pt x="210" y="107"/>
                  <a:pt x="210" y="107"/>
                </a:cubicBezTo>
                <a:cubicBezTo>
                  <a:pt x="209" y="107"/>
                  <a:pt x="209" y="112"/>
                  <a:pt x="209" y="114"/>
                </a:cubicBezTo>
                <a:cubicBezTo>
                  <a:pt x="208" y="113"/>
                  <a:pt x="209" y="114"/>
                  <a:pt x="208" y="114"/>
                </a:cubicBezTo>
                <a:cubicBezTo>
                  <a:pt x="208" y="114"/>
                  <a:pt x="208" y="114"/>
                  <a:pt x="208" y="114"/>
                </a:cubicBezTo>
                <a:cubicBezTo>
                  <a:pt x="208" y="114"/>
                  <a:pt x="208" y="114"/>
                  <a:pt x="208" y="114"/>
                </a:cubicBezTo>
                <a:cubicBezTo>
                  <a:pt x="208" y="115"/>
                  <a:pt x="208" y="115"/>
                  <a:pt x="208" y="116"/>
                </a:cubicBezTo>
                <a:cubicBezTo>
                  <a:pt x="208" y="115"/>
                  <a:pt x="209" y="115"/>
                  <a:pt x="209" y="115"/>
                </a:cubicBezTo>
                <a:cubicBezTo>
                  <a:pt x="209" y="118"/>
                  <a:pt x="209" y="126"/>
                  <a:pt x="209" y="128"/>
                </a:cubicBezTo>
                <a:cubicBezTo>
                  <a:pt x="208" y="127"/>
                  <a:pt x="208" y="128"/>
                  <a:pt x="208" y="128"/>
                </a:cubicBezTo>
                <a:cubicBezTo>
                  <a:pt x="209" y="128"/>
                  <a:pt x="208" y="128"/>
                  <a:pt x="208" y="129"/>
                </a:cubicBezTo>
                <a:cubicBezTo>
                  <a:pt x="209" y="128"/>
                  <a:pt x="208" y="134"/>
                  <a:pt x="210" y="133"/>
                </a:cubicBezTo>
                <a:cubicBezTo>
                  <a:pt x="210" y="134"/>
                  <a:pt x="210" y="134"/>
                  <a:pt x="210" y="134"/>
                </a:cubicBezTo>
                <a:cubicBezTo>
                  <a:pt x="211" y="134"/>
                  <a:pt x="210" y="135"/>
                  <a:pt x="209" y="134"/>
                </a:cubicBezTo>
                <a:cubicBezTo>
                  <a:pt x="210" y="137"/>
                  <a:pt x="210" y="145"/>
                  <a:pt x="207" y="146"/>
                </a:cubicBezTo>
                <a:cubicBezTo>
                  <a:pt x="206" y="146"/>
                  <a:pt x="207" y="147"/>
                  <a:pt x="207" y="147"/>
                </a:cubicBezTo>
                <a:cubicBezTo>
                  <a:pt x="207" y="148"/>
                  <a:pt x="207" y="146"/>
                  <a:pt x="206" y="146"/>
                </a:cubicBezTo>
                <a:cubicBezTo>
                  <a:pt x="205" y="148"/>
                  <a:pt x="203" y="148"/>
                  <a:pt x="202" y="149"/>
                </a:cubicBezTo>
                <a:cubicBezTo>
                  <a:pt x="201" y="149"/>
                  <a:pt x="201" y="148"/>
                  <a:pt x="201" y="148"/>
                </a:cubicBezTo>
                <a:cubicBezTo>
                  <a:pt x="200" y="149"/>
                  <a:pt x="200" y="149"/>
                  <a:pt x="198" y="149"/>
                </a:cubicBezTo>
                <a:cubicBezTo>
                  <a:pt x="199" y="150"/>
                  <a:pt x="197" y="150"/>
                  <a:pt x="196" y="150"/>
                </a:cubicBezTo>
                <a:cubicBezTo>
                  <a:pt x="196" y="150"/>
                  <a:pt x="196" y="151"/>
                  <a:pt x="196" y="151"/>
                </a:cubicBezTo>
                <a:cubicBezTo>
                  <a:pt x="191" y="151"/>
                  <a:pt x="182" y="154"/>
                  <a:pt x="179" y="150"/>
                </a:cubicBezTo>
                <a:cubicBezTo>
                  <a:pt x="178" y="151"/>
                  <a:pt x="177" y="152"/>
                  <a:pt x="176" y="151"/>
                </a:cubicBezTo>
                <a:cubicBezTo>
                  <a:pt x="176" y="151"/>
                  <a:pt x="176" y="151"/>
                  <a:pt x="176" y="151"/>
                </a:cubicBezTo>
                <a:cubicBezTo>
                  <a:pt x="176" y="152"/>
                  <a:pt x="174" y="150"/>
                  <a:pt x="173" y="152"/>
                </a:cubicBezTo>
                <a:cubicBezTo>
                  <a:pt x="173" y="151"/>
                  <a:pt x="173" y="151"/>
                  <a:pt x="173" y="151"/>
                </a:cubicBezTo>
                <a:cubicBezTo>
                  <a:pt x="173" y="151"/>
                  <a:pt x="172" y="151"/>
                  <a:pt x="172" y="151"/>
                </a:cubicBezTo>
                <a:cubicBezTo>
                  <a:pt x="173" y="152"/>
                  <a:pt x="170" y="153"/>
                  <a:pt x="169" y="152"/>
                </a:cubicBezTo>
                <a:cubicBezTo>
                  <a:pt x="170" y="153"/>
                  <a:pt x="168" y="153"/>
                  <a:pt x="167" y="153"/>
                </a:cubicBezTo>
                <a:cubicBezTo>
                  <a:pt x="167" y="152"/>
                  <a:pt x="166" y="152"/>
                  <a:pt x="166" y="151"/>
                </a:cubicBezTo>
                <a:cubicBezTo>
                  <a:pt x="165" y="152"/>
                  <a:pt x="166" y="153"/>
                  <a:pt x="165" y="152"/>
                </a:cubicBezTo>
                <a:cubicBezTo>
                  <a:pt x="162" y="155"/>
                  <a:pt x="150" y="151"/>
                  <a:pt x="146" y="155"/>
                </a:cubicBezTo>
                <a:cubicBezTo>
                  <a:pt x="147" y="156"/>
                  <a:pt x="147" y="156"/>
                  <a:pt x="146" y="156"/>
                </a:cubicBezTo>
                <a:cubicBezTo>
                  <a:pt x="146" y="157"/>
                  <a:pt x="147" y="157"/>
                  <a:pt x="146" y="158"/>
                </a:cubicBezTo>
                <a:cubicBezTo>
                  <a:pt x="147" y="158"/>
                  <a:pt x="147" y="158"/>
                  <a:pt x="147" y="160"/>
                </a:cubicBezTo>
                <a:cubicBezTo>
                  <a:pt x="147" y="160"/>
                  <a:pt x="147" y="159"/>
                  <a:pt x="146" y="159"/>
                </a:cubicBezTo>
                <a:cubicBezTo>
                  <a:pt x="146" y="160"/>
                  <a:pt x="149" y="162"/>
                  <a:pt x="147" y="161"/>
                </a:cubicBezTo>
                <a:cubicBezTo>
                  <a:pt x="150" y="163"/>
                  <a:pt x="151" y="168"/>
                  <a:pt x="152" y="170"/>
                </a:cubicBezTo>
                <a:cubicBezTo>
                  <a:pt x="152" y="171"/>
                  <a:pt x="152" y="170"/>
                  <a:pt x="151" y="171"/>
                </a:cubicBezTo>
                <a:cubicBezTo>
                  <a:pt x="151" y="171"/>
                  <a:pt x="153" y="173"/>
                  <a:pt x="151" y="173"/>
                </a:cubicBezTo>
                <a:cubicBezTo>
                  <a:pt x="152" y="173"/>
                  <a:pt x="152" y="173"/>
                  <a:pt x="152" y="173"/>
                </a:cubicBezTo>
                <a:cubicBezTo>
                  <a:pt x="152" y="173"/>
                  <a:pt x="152" y="173"/>
                  <a:pt x="152" y="173"/>
                </a:cubicBezTo>
                <a:cubicBezTo>
                  <a:pt x="153" y="173"/>
                  <a:pt x="153" y="173"/>
                  <a:pt x="153" y="174"/>
                </a:cubicBezTo>
                <a:cubicBezTo>
                  <a:pt x="153" y="174"/>
                  <a:pt x="153" y="173"/>
                  <a:pt x="154" y="173"/>
                </a:cubicBezTo>
                <a:cubicBezTo>
                  <a:pt x="156" y="175"/>
                  <a:pt x="155" y="177"/>
                  <a:pt x="156" y="180"/>
                </a:cubicBezTo>
                <a:cubicBezTo>
                  <a:pt x="156" y="180"/>
                  <a:pt x="156" y="180"/>
                  <a:pt x="155" y="180"/>
                </a:cubicBezTo>
                <a:cubicBezTo>
                  <a:pt x="157" y="181"/>
                  <a:pt x="159" y="183"/>
                  <a:pt x="158" y="185"/>
                </a:cubicBezTo>
                <a:cubicBezTo>
                  <a:pt x="159" y="185"/>
                  <a:pt x="159" y="188"/>
                  <a:pt x="160" y="188"/>
                </a:cubicBezTo>
                <a:cubicBezTo>
                  <a:pt x="159" y="189"/>
                  <a:pt x="159" y="189"/>
                  <a:pt x="158" y="189"/>
                </a:cubicBezTo>
                <a:cubicBezTo>
                  <a:pt x="158" y="189"/>
                  <a:pt x="158" y="189"/>
                  <a:pt x="158" y="189"/>
                </a:cubicBezTo>
                <a:cubicBezTo>
                  <a:pt x="153" y="190"/>
                  <a:pt x="151" y="185"/>
                  <a:pt x="148" y="184"/>
                </a:cubicBezTo>
                <a:cubicBezTo>
                  <a:pt x="148" y="184"/>
                  <a:pt x="148" y="183"/>
                  <a:pt x="147" y="182"/>
                </a:cubicBezTo>
                <a:cubicBezTo>
                  <a:pt x="147" y="183"/>
                  <a:pt x="147" y="183"/>
                  <a:pt x="148" y="183"/>
                </a:cubicBezTo>
                <a:cubicBezTo>
                  <a:pt x="148" y="183"/>
                  <a:pt x="147" y="182"/>
                  <a:pt x="147" y="182"/>
                </a:cubicBezTo>
                <a:cubicBezTo>
                  <a:pt x="143" y="182"/>
                  <a:pt x="141" y="178"/>
                  <a:pt x="138" y="177"/>
                </a:cubicBezTo>
                <a:cubicBezTo>
                  <a:pt x="138" y="177"/>
                  <a:pt x="139" y="176"/>
                  <a:pt x="137" y="177"/>
                </a:cubicBezTo>
                <a:cubicBezTo>
                  <a:pt x="138" y="176"/>
                  <a:pt x="137" y="174"/>
                  <a:pt x="136" y="174"/>
                </a:cubicBezTo>
                <a:cubicBezTo>
                  <a:pt x="136" y="173"/>
                  <a:pt x="135" y="174"/>
                  <a:pt x="136" y="173"/>
                </a:cubicBezTo>
                <a:cubicBezTo>
                  <a:pt x="135" y="173"/>
                  <a:pt x="134" y="171"/>
                  <a:pt x="133" y="171"/>
                </a:cubicBezTo>
                <a:cubicBezTo>
                  <a:pt x="132" y="172"/>
                  <a:pt x="131" y="171"/>
                  <a:pt x="130" y="172"/>
                </a:cubicBezTo>
                <a:cubicBezTo>
                  <a:pt x="127" y="170"/>
                  <a:pt x="123" y="167"/>
                  <a:pt x="121" y="165"/>
                </a:cubicBezTo>
                <a:cubicBezTo>
                  <a:pt x="120" y="165"/>
                  <a:pt x="121" y="165"/>
                  <a:pt x="121" y="165"/>
                </a:cubicBezTo>
                <a:cubicBezTo>
                  <a:pt x="119" y="163"/>
                  <a:pt x="115" y="160"/>
                  <a:pt x="112" y="157"/>
                </a:cubicBezTo>
                <a:cubicBezTo>
                  <a:pt x="109" y="158"/>
                  <a:pt x="106" y="156"/>
                  <a:pt x="104" y="154"/>
                </a:cubicBezTo>
                <a:cubicBezTo>
                  <a:pt x="102" y="155"/>
                  <a:pt x="99" y="155"/>
                  <a:pt x="98" y="153"/>
                </a:cubicBezTo>
                <a:cubicBezTo>
                  <a:pt x="96" y="153"/>
                  <a:pt x="96" y="154"/>
                  <a:pt x="95" y="154"/>
                </a:cubicBezTo>
                <a:cubicBezTo>
                  <a:pt x="95" y="154"/>
                  <a:pt x="95" y="154"/>
                  <a:pt x="96" y="154"/>
                </a:cubicBezTo>
                <a:cubicBezTo>
                  <a:pt x="96" y="154"/>
                  <a:pt x="95" y="154"/>
                  <a:pt x="95" y="154"/>
                </a:cubicBezTo>
                <a:cubicBezTo>
                  <a:pt x="91" y="157"/>
                  <a:pt x="88" y="155"/>
                  <a:pt x="84" y="156"/>
                </a:cubicBezTo>
                <a:cubicBezTo>
                  <a:pt x="84" y="155"/>
                  <a:pt x="82" y="153"/>
                  <a:pt x="81" y="152"/>
                </a:cubicBezTo>
                <a:cubicBezTo>
                  <a:pt x="80" y="152"/>
                  <a:pt x="80" y="153"/>
                  <a:pt x="79" y="153"/>
                </a:cubicBezTo>
                <a:cubicBezTo>
                  <a:pt x="79" y="154"/>
                  <a:pt x="77" y="155"/>
                  <a:pt x="76" y="155"/>
                </a:cubicBezTo>
                <a:cubicBezTo>
                  <a:pt x="76" y="156"/>
                  <a:pt x="74" y="155"/>
                  <a:pt x="73" y="156"/>
                </a:cubicBezTo>
                <a:cubicBezTo>
                  <a:pt x="73" y="154"/>
                  <a:pt x="71" y="155"/>
                  <a:pt x="71" y="153"/>
                </a:cubicBezTo>
                <a:cubicBezTo>
                  <a:pt x="70" y="153"/>
                  <a:pt x="71" y="154"/>
                  <a:pt x="70" y="154"/>
                </a:cubicBezTo>
                <a:cubicBezTo>
                  <a:pt x="70" y="154"/>
                  <a:pt x="70" y="153"/>
                  <a:pt x="70" y="154"/>
                </a:cubicBezTo>
                <a:cubicBezTo>
                  <a:pt x="69" y="153"/>
                  <a:pt x="70" y="153"/>
                  <a:pt x="69" y="152"/>
                </a:cubicBezTo>
                <a:cubicBezTo>
                  <a:pt x="64" y="155"/>
                  <a:pt x="60" y="153"/>
                  <a:pt x="54" y="152"/>
                </a:cubicBezTo>
                <a:cubicBezTo>
                  <a:pt x="55" y="153"/>
                  <a:pt x="53" y="151"/>
                  <a:pt x="53" y="153"/>
                </a:cubicBezTo>
                <a:cubicBezTo>
                  <a:pt x="49" y="151"/>
                  <a:pt x="48" y="154"/>
                  <a:pt x="43" y="153"/>
                </a:cubicBezTo>
                <a:cubicBezTo>
                  <a:pt x="41" y="153"/>
                  <a:pt x="38" y="152"/>
                  <a:pt x="36" y="153"/>
                </a:cubicBezTo>
                <a:cubicBezTo>
                  <a:pt x="35" y="151"/>
                  <a:pt x="32" y="153"/>
                  <a:pt x="30" y="153"/>
                </a:cubicBezTo>
                <a:cubicBezTo>
                  <a:pt x="30" y="153"/>
                  <a:pt x="30" y="153"/>
                  <a:pt x="30" y="152"/>
                </a:cubicBezTo>
                <a:cubicBezTo>
                  <a:pt x="25" y="151"/>
                  <a:pt x="18" y="156"/>
                  <a:pt x="13" y="150"/>
                </a:cubicBezTo>
                <a:cubicBezTo>
                  <a:pt x="12" y="150"/>
                  <a:pt x="12" y="151"/>
                  <a:pt x="11" y="151"/>
                </a:cubicBezTo>
                <a:cubicBezTo>
                  <a:pt x="10" y="151"/>
                  <a:pt x="9" y="150"/>
                  <a:pt x="9" y="150"/>
                </a:cubicBezTo>
                <a:cubicBezTo>
                  <a:pt x="8" y="149"/>
                  <a:pt x="6" y="147"/>
                  <a:pt x="6" y="145"/>
                </a:cubicBezTo>
                <a:cubicBezTo>
                  <a:pt x="7" y="143"/>
                  <a:pt x="6" y="141"/>
                  <a:pt x="4" y="141"/>
                </a:cubicBezTo>
                <a:cubicBezTo>
                  <a:pt x="5" y="141"/>
                  <a:pt x="3" y="139"/>
                  <a:pt x="4" y="139"/>
                </a:cubicBezTo>
                <a:cubicBezTo>
                  <a:pt x="3" y="139"/>
                  <a:pt x="3" y="136"/>
                  <a:pt x="2" y="137"/>
                </a:cubicBezTo>
                <a:cubicBezTo>
                  <a:pt x="3" y="133"/>
                  <a:pt x="3" y="131"/>
                  <a:pt x="3" y="126"/>
                </a:cubicBezTo>
                <a:cubicBezTo>
                  <a:pt x="3" y="126"/>
                  <a:pt x="2" y="126"/>
                  <a:pt x="2" y="126"/>
                </a:cubicBezTo>
                <a:cubicBezTo>
                  <a:pt x="2" y="125"/>
                  <a:pt x="1" y="125"/>
                  <a:pt x="2" y="124"/>
                </a:cubicBezTo>
                <a:cubicBezTo>
                  <a:pt x="3" y="122"/>
                  <a:pt x="0" y="119"/>
                  <a:pt x="2" y="116"/>
                </a:cubicBezTo>
                <a:cubicBezTo>
                  <a:pt x="1" y="117"/>
                  <a:pt x="2" y="116"/>
                  <a:pt x="1" y="116"/>
                </a:cubicBezTo>
                <a:cubicBezTo>
                  <a:pt x="1" y="115"/>
                  <a:pt x="2" y="116"/>
                  <a:pt x="2" y="116"/>
                </a:cubicBezTo>
                <a:cubicBezTo>
                  <a:pt x="2" y="116"/>
                  <a:pt x="3" y="114"/>
                  <a:pt x="2" y="114"/>
                </a:cubicBezTo>
                <a:cubicBezTo>
                  <a:pt x="2" y="113"/>
                  <a:pt x="3" y="114"/>
                  <a:pt x="3" y="114"/>
                </a:cubicBezTo>
                <a:cubicBezTo>
                  <a:pt x="3" y="114"/>
                  <a:pt x="3" y="113"/>
                  <a:pt x="3" y="112"/>
                </a:cubicBezTo>
                <a:cubicBezTo>
                  <a:pt x="4" y="113"/>
                  <a:pt x="3" y="112"/>
                  <a:pt x="4" y="112"/>
                </a:cubicBezTo>
                <a:cubicBezTo>
                  <a:pt x="3" y="110"/>
                  <a:pt x="3" y="109"/>
                  <a:pt x="2" y="108"/>
                </a:cubicBezTo>
                <a:cubicBezTo>
                  <a:pt x="2" y="108"/>
                  <a:pt x="2" y="108"/>
                  <a:pt x="1" y="108"/>
                </a:cubicBezTo>
                <a:cubicBezTo>
                  <a:pt x="2" y="107"/>
                  <a:pt x="1" y="107"/>
                  <a:pt x="1" y="106"/>
                </a:cubicBezTo>
                <a:cubicBezTo>
                  <a:pt x="1" y="106"/>
                  <a:pt x="1" y="106"/>
                  <a:pt x="2" y="106"/>
                </a:cubicBezTo>
                <a:cubicBezTo>
                  <a:pt x="1" y="106"/>
                  <a:pt x="1" y="106"/>
                  <a:pt x="1" y="106"/>
                </a:cubicBezTo>
                <a:cubicBezTo>
                  <a:pt x="1" y="105"/>
                  <a:pt x="2" y="105"/>
                  <a:pt x="2" y="105"/>
                </a:cubicBezTo>
                <a:cubicBezTo>
                  <a:pt x="2" y="104"/>
                  <a:pt x="2" y="104"/>
                  <a:pt x="1" y="104"/>
                </a:cubicBezTo>
                <a:cubicBezTo>
                  <a:pt x="1" y="102"/>
                  <a:pt x="3" y="101"/>
                  <a:pt x="1" y="101"/>
                </a:cubicBezTo>
                <a:cubicBezTo>
                  <a:pt x="1" y="100"/>
                  <a:pt x="2" y="100"/>
                  <a:pt x="2" y="99"/>
                </a:cubicBezTo>
                <a:cubicBezTo>
                  <a:pt x="1" y="100"/>
                  <a:pt x="1" y="100"/>
                  <a:pt x="1" y="100"/>
                </a:cubicBezTo>
                <a:cubicBezTo>
                  <a:pt x="1" y="100"/>
                  <a:pt x="1" y="100"/>
                  <a:pt x="1" y="99"/>
                </a:cubicBezTo>
                <a:cubicBezTo>
                  <a:pt x="2" y="99"/>
                  <a:pt x="2" y="99"/>
                  <a:pt x="1" y="98"/>
                </a:cubicBezTo>
                <a:cubicBezTo>
                  <a:pt x="3" y="99"/>
                  <a:pt x="1" y="97"/>
                  <a:pt x="2" y="97"/>
                </a:cubicBezTo>
                <a:cubicBezTo>
                  <a:pt x="2" y="97"/>
                  <a:pt x="2" y="97"/>
                  <a:pt x="2" y="97"/>
                </a:cubicBezTo>
                <a:cubicBezTo>
                  <a:pt x="3" y="96"/>
                  <a:pt x="1" y="96"/>
                  <a:pt x="3" y="96"/>
                </a:cubicBezTo>
                <a:cubicBezTo>
                  <a:pt x="2" y="95"/>
                  <a:pt x="3" y="94"/>
                  <a:pt x="2" y="94"/>
                </a:cubicBezTo>
                <a:cubicBezTo>
                  <a:pt x="3" y="94"/>
                  <a:pt x="2" y="93"/>
                  <a:pt x="3" y="93"/>
                </a:cubicBezTo>
                <a:cubicBezTo>
                  <a:pt x="3" y="93"/>
                  <a:pt x="3" y="91"/>
                  <a:pt x="3" y="92"/>
                </a:cubicBezTo>
                <a:cubicBezTo>
                  <a:pt x="4" y="92"/>
                  <a:pt x="2" y="91"/>
                  <a:pt x="3" y="91"/>
                </a:cubicBezTo>
                <a:cubicBezTo>
                  <a:pt x="0" y="89"/>
                  <a:pt x="1" y="86"/>
                  <a:pt x="2" y="83"/>
                </a:cubicBezTo>
                <a:cubicBezTo>
                  <a:pt x="1" y="84"/>
                  <a:pt x="2" y="82"/>
                  <a:pt x="3" y="82"/>
                </a:cubicBezTo>
                <a:cubicBezTo>
                  <a:pt x="2" y="82"/>
                  <a:pt x="2" y="82"/>
                  <a:pt x="2" y="82"/>
                </a:cubicBezTo>
                <a:cubicBezTo>
                  <a:pt x="3" y="82"/>
                  <a:pt x="5" y="78"/>
                  <a:pt x="2" y="78"/>
                </a:cubicBezTo>
                <a:cubicBezTo>
                  <a:pt x="2" y="76"/>
                  <a:pt x="3" y="78"/>
                  <a:pt x="2" y="76"/>
                </a:cubicBezTo>
                <a:cubicBezTo>
                  <a:pt x="2" y="77"/>
                  <a:pt x="3" y="76"/>
                  <a:pt x="3" y="75"/>
                </a:cubicBezTo>
                <a:cubicBezTo>
                  <a:pt x="3" y="76"/>
                  <a:pt x="3" y="77"/>
                  <a:pt x="4" y="77"/>
                </a:cubicBezTo>
                <a:cubicBezTo>
                  <a:pt x="3" y="76"/>
                  <a:pt x="4" y="76"/>
                  <a:pt x="3" y="75"/>
                </a:cubicBezTo>
                <a:cubicBezTo>
                  <a:pt x="3" y="75"/>
                  <a:pt x="4" y="74"/>
                  <a:pt x="3" y="74"/>
                </a:cubicBezTo>
                <a:cubicBezTo>
                  <a:pt x="4" y="75"/>
                  <a:pt x="4" y="73"/>
                  <a:pt x="4" y="74"/>
                </a:cubicBezTo>
                <a:cubicBezTo>
                  <a:pt x="4" y="72"/>
                  <a:pt x="3" y="72"/>
                  <a:pt x="3" y="71"/>
                </a:cubicBezTo>
                <a:cubicBezTo>
                  <a:pt x="4" y="72"/>
                  <a:pt x="2" y="69"/>
                  <a:pt x="4" y="68"/>
                </a:cubicBezTo>
                <a:cubicBezTo>
                  <a:pt x="4" y="69"/>
                  <a:pt x="4" y="69"/>
                  <a:pt x="4" y="69"/>
                </a:cubicBezTo>
                <a:cubicBezTo>
                  <a:pt x="4" y="69"/>
                  <a:pt x="4" y="69"/>
                  <a:pt x="4" y="69"/>
                </a:cubicBezTo>
                <a:cubicBezTo>
                  <a:pt x="5" y="69"/>
                  <a:pt x="5" y="69"/>
                  <a:pt x="4" y="70"/>
                </a:cubicBezTo>
                <a:cubicBezTo>
                  <a:pt x="5" y="70"/>
                  <a:pt x="5" y="69"/>
                  <a:pt x="5" y="69"/>
                </a:cubicBezTo>
                <a:cubicBezTo>
                  <a:pt x="4" y="69"/>
                  <a:pt x="4" y="68"/>
                  <a:pt x="4" y="67"/>
                </a:cubicBezTo>
                <a:cubicBezTo>
                  <a:pt x="3" y="68"/>
                  <a:pt x="3" y="67"/>
                  <a:pt x="2" y="67"/>
                </a:cubicBezTo>
                <a:cubicBezTo>
                  <a:pt x="2" y="65"/>
                  <a:pt x="2" y="62"/>
                  <a:pt x="2" y="61"/>
                </a:cubicBezTo>
                <a:cubicBezTo>
                  <a:pt x="2" y="60"/>
                  <a:pt x="4" y="61"/>
                  <a:pt x="3" y="62"/>
                </a:cubicBezTo>
                <a:cubicBezTo>
                  <a:pt x="5" y="59"/>
                  <a:pt x="3" y="56"/>
                  <a:pt x="4" y="54"/>
                </a:cubicBezTo>
                <a:cubicBezTo>
                  <a:pt x="5" y="54"/>
                  <a:pt x="6" y="50"/>
                  <a:pt x="4" y="50"/>
                </a:cubicBezTo>
                <a:cubicBezTo>
                  <a:pt x="2" y="43"/>
                  <a:pt x="4" y="39"/>
                  <a:pt x="3" y="33"/>
                </a:cubicBezTo>
                <a:cubicBezTo>
                  <a:pt x="4" y="33"/>
                  <a:pt x="4" y="33"/>
                  <a:pt x="4" y="33"/>
                </a:cubicBezTo>
                <a:cubicBezTo>
                  <a:pt x="4" y="33"/>
                  <a:pt x="3" y="33"/>
                  <a:pt x="4" y="32"/>
                </a:cubicBezTo>
                <a:cubicBezTo>
                  <a:pt x="4" y="32"/>
                  <a:pt x="4" y="32"/>
                  <a:pt x="3" y="32"/>
                </a:cubicBezTo>
                <a:cubicBezTo>
                  <a:pt x="4" y="31"/>
                  <a:pt x="4" y="32"/>
                  <a:pt x="5" y="32"/>
                </a:cubicBezTo>
                <a:cubicBezTo>
                  <a:pt x="4" y="32"/>
                  <a:pt x="4" y="31"/>
                  <a:pt x="4" y="31"/>
                </a:cubicBezTo>
                <a:cubicBezTo>
                  <a:pt x="4" y="31"/>
                  <a:pt x="5" y="31"/>
                  <a:pt x="5" y="31"/>
                </a:cubicBezTo>
                <a:cubicBezTo>
                  <a:pt x="5" y="31"/>
                  <a:pt x="4" y="30"/>
                  <a:pt x="5" y="30"/>
                </a:cubicBezTo>
                <a:cubicBezTo>
                  <a:pt x="4" y="31"/>
                  <a:pt x="5" y="30"/>
                  <a:pt x="5" y="28"/>
                </a:cubicBezTo>
                <a:cubicBezTo>
                  <a:pt x="5" y="28"/>
                  <a:pt x="4" y="27"/>
                  <a:pt x="3" y="27"/>
                </a:cubicBezTo>
                <a:cubicBezTo>
                  <a:pt x="3" y="26"/>
                  <a:pt x="3" y="24"/>
                  <a:pt x="3" y="24"/>
                </a:cubicBezTo>
                <a:cubicBezTo>
                  <a:pt x="3" y="23"/>
                  <a:pt x="3" y="24"/>
                  <a:pt x="4" y="24"/>
                </a:cubicBezTo>
                <a:cubicBezTo>
                  <a:pt x="3" y="22"/>
                  <a:pt x="5" y="20"/>
                  <a:pt x="3" y="20"/>
                </a:cubicBezTo>
                <a:cubicBezTo>
                  <a:pt x="3" y="19"/>
                  <a:pt x="4" y="20"/>
                  <a:pt x="5" y="20"/>
                </a:cubicBezTo>
                <a:cubicBezTo>
                  <a:pt x="4" y="19"/>
                  <a:pt x="4" y="19"/>
                  <a:pt x="4" y="19"/>
                </a:cubicBezTo>
                <a:cubicBezTo>
                  <a:pt x="5" y="18"/>
                  <a:pt x="7" y="18"/>
                  <a:pt x="6" y="16"/>
                </a:cubicBezTo>
                <a:cubicBezTo>
                  <a:pt x="6" y="16"/>
                  <a:pt x="7" y="17"/>
                  <a:pt x="6" y="17"/>
                </a:cubicBezTo>
                <a:cubicBezTo>
                  <a:pt x="6" y="15"/>
                  <a:pt x="6" y="16"/>
                  <a:pt x="6" y="14"/>
                </a:cubicBezTo>
                <a:cubicBezTo>
                  <a:pt x="6" y="15"/>
                  <a:pt x="6" y="15"/>
                  <a:pt x="7" y="15"/>
                </a:cubicBezTo>
                <a:cubicBezTo>
                  <a:pt x="6" y="13"/>
                  <a:pt x="9" y="13"/>
                  <a:pt x="7" y="10"/>
                </a:cubicBezTo>
                <a:cubicBezTo>
                  <a:pt x="8" y="10"/>
                  <a:pt x="8" y="9"/>
                  <a:pt x="9" y="8"/>
                </a:cubicBezTo>
                <a:cubicBezTo>
                  <a:pt x="10" y="9"/>
                  <a:pt x="9" y="9"/>
                  <a:pt x="9" y="8"/>
                </a:cubicBezTo>
                <a:cubicBezTo>
                  <a:pt x="10" y="8"/>
                  <a:pt x="10" y="8"/>
                  <a:pt x="10" y="8"/>
                </a:cubicBezTo>
                <a:cubicBezTo>
                  <a:pt x="11" y="8"/>
                  <a:pt x="10" y="8"/>
                  <a:pt x="10" y="7"/>
                </a:cubicBezTo>
                <a:cubicBezTo>
                  <a:pt x="11" y="7"/>
                  <a:pt x="11" y="7"/>
                  <a:pt x="11" y="7"/>
                </a:cubicBezTo>
                <a:cubicBezTo>
                  <a:pt x="12" y="7"/>
                  <a:pt x="12" y="7"/>
                  <a:pt x="12" y="6"/>
                </a:cubicBezTo>
                <a:cubicBezTo>
                  <a:pt x="13" y="6"/>
                  <a:pt x="14" y="5"/>
                  <a:pt x="15" y="6"/>
                </a:cubicBezTo>
                <a:cubicBezTo>
                  <a:pt x="15" y="5"/>
                  <a:pt x="14" y="5"/>
                  <a:pt x="14" y="5"/>
                </a:cubicBezTo>
                <a:cubicBezTo>
                  <a:pt x="15" y="4"/>
                  <a:pt x="17" y="5"/>
                  <a:pt x="17" y="6"/>
                </a:cubicBezTo>
                <a:cubicBezTo>
                  <a:pt x="18" y="5"/>
                  <a:pt x="18" y="6"/>
                  <a:pt x="18" y="5"/>
                </a:cubicBezTo>
                <a:cubicBezTo>
                  <a:pt x="19" y="5"/>
                  <a:pt x="19" y="6"/>
                  <a:pt x="19" y="4"/>
                </a:cubicBezTo>
                <a:cubicBezTo>
                  <a:pt x="20" y="4"/>
                  <a:pt x="21" y="5"/>
                  <a:pt x="21" y="4"/>
                </a:cubicBezTo>
                <a:cubicBezTo>
                  <a:pt x="22" y="4"/>
                  <a:pt x="21" y="5"/>
                  <a:pt x="22" y="5"/>
                </a:cubicBezTo>
                <a:cubicBezTo>
                  <a:pt x="22" y="5"/>
                  <a:pt x="21" y="5"/>
                  <a:pt x="22" y="4"/>
                </a:cubicBezTo>
                <a:cubicBezTo>
                  <a:pt x="22" y="4"/>
                  <a:pt x="22" y="5"/>
                  <a:pt x="23" y="4"/>
                </a:cubicBezTo>
                <a:cubicBezTo>
                  <a:pt x="27" y="5"/>
                  <a:pt x="32" y="0"/>
                  <a:pt x="35" y="4"/>
                </a:cubicBezTo>
                <a:cubicBezTo>
                  <a:pt x="37" y="3"/>
                  <a:pt x="40" y="2"/>
                  <a:pt x="43" y="3"/>
                </a:cubicBezTo>
                <a:cubicBezTo>
                  <a:pt x="44" y="2"/>
                  <a:pt x="47" y="3"/>
                  <a:pt x="48" y="2"/>
                </a:cubicBezTo>
                <a:cubicBezTo>
                  <a:pt x="48" y="3"/>
                  <a:pt x="51" y="3"/>
                  <a:pt x="51" y="4"/>
                </a:cubicBezTo>
                <a:cubicBezTo>
                  <a:pt x="53" y="4"/>
                  <a:pt x="54" y="2"/>
                  <a:pt x="55" y="4"/>
                </a:cubicBezTo>
                <a:cubicBezTo>
                  <a:pt x="55" y="3"/>
                  <a:pt x="55" y="3"/>
                  <a:pt x="56" y="3"/>
                </a:cubicBezTo>
                <a:cubicBezTo>
                  <a:pt x="56" y="3"/>
                  <a:pt x="55" y="3"/>
                  <a:pt x="55" y="4"/>
                </a:cubicBezTo>
                <a:cubicBezTo>
                  <a:pt x="56" y="3"/>
                  <a:pt x="56" y="3"/>
                  <a:pt x="56" y="3"/>
                </a:cubicBezTo>
                <a:cubicBezTo>
                  <a:pt x="56" y="3"/>
                  <a:pt x="57" y="3"/>
                  <a:pt x="58" y="4"/>
                </a:cubicBezTo>
                <a:cubicBezTo>
                  <a:pt x="60" y="2"/>
                  <a:pt x="61" y="3"/>
                  <a:pt x="63" y="3"/>
                </a:cubicBezTo>
                <a:cubicBezTo>
                  <a:pt x="63" y="1"/>
                  <a:pt x="67" y="4"/>
                  <a:pt x="67" y="2"/>
                </a:cubicBezTo>
                <a:cubicBezTo>
                  <a:pt x="69" y="3"/>
                  <a:pt x="71" y="2"/>
                  <a:pt x="73" y="2"/>
                </a:cubicBezTo>
                <a:cubicBezTo>
                  <a:pt x="73" y="2"/>
                  <a:pt x="73" y="2"/>
                  <a:pt x="73" y="2"/>
                </a:cubicBezTo>
                <a:cubicBezTo>
                  <a:pt x="75" y="3"/>
                  <a:pt x="78" y="1"/>
                  <a:pt x="80" y="2"/>
                </a:cubicBezTo>
                <a:cubicBezTo>
                  <a:pt x="81" y="0"/>
                  <a:pt x="90" y="1"/>
                  <a:pt x="93" y="1"/>
                </a:cubicBezTo>
                <a:cubicBezTo>
                  <a:pt x="94" y="0"/>
                  <a:pt x="99" y="2"/>
                  <a:pt x="100" y="1"/>
                </a:cubicBezTo>
                <a:cubicBezTo>
                  <a:pt x="101" y="2"/>
                  <a:pt x="102" y="2"/>
                  <a:pt x="102" y="3"/>
                </a:cubicBezTo>
                <a:cubicBezTo>
                  <a:pt x="103" y="3"/>
                  <a:pt x="103" y="4"/>
                  <a:pt x="104" y="2"/>
                </a:cubicBezTo>
                <a:cubicBezTo>
                  <a:pt x="104" y="2"/>
                  <a:pt x="104" y="3"/>
                  <a:pt x="104" y="3"/>
                </a:cubicBezTo>
                <a:cubicBezTo>
                  <a:pt x="105" y="1"/>
                  <a:pt x="107" y="1"/>
                  <a:pt x="109" y="1"/>
                </a:cubicBezTo>
                <a:cubicBezTo>
                  <a:pt x="109" y="1"/>
                  <a:pt x="108" y="1"/>
                  <a:pt x="109" y="2"/>
                </a:cubicBezTo>
                <a:cubicBezTo>
                  <a:pt x="110" y="2"/>
                  <a:pt x="109" y="1"/>
                  <a:pt x="109" y="1"/>
                </a:cubicBezTo>
                <a:cubicBezTo>
                  <a:pt x="110" y="1"/>
                  <a:pt x="110" y="2"/>
                  <a:pt x="110" y="1"/>
                </a:cubicBezTo>
                <a:cubicBezTo>
                  <a:pt x="113" y="4"/>
                  <a:pt x="115" y="1"/>
                  <a:pt x="119" y="1"/>
                </a:cubicBezTo>
                <a:cubicBezTo>
                  <a:pt x="119" y="1"/>
                  <a:pt x="122" y="1"/>
                  <a:pt x="124" y="1"/>
                </a:cubicBezTo>
                <a:cubicBezTo>
                  <a:pt x="123" y="0"/>
                  <a:pt x="124" y="1"/>
                  <a:pt x="124" y="1"/>
                </a:cubicBezTo>
                <a:close/>
                <a:moveTo>
                  <a:pt x="209" y="103"/>
                </a:moveTo>
                <a:cubicBezTo>
                  <a:pt x="208" y="104"/>
                  <a:pt x="210" y="102"/>
                  <a:pt x="209" y="103"/>
                </a:cubicBezTo>
                <a:close/>
                <a:moveTo>
                  <a:pt x="202" y="148"/>
                </a:moveTo>
                <a:cubicBezTo>
                  <a:pt x="201" y="149"/>
                  <a:pt x="203" y="147"/>
                  <a:pt x="202" y="148"/>
                </a:cubicBezTo>
                <a:close/>
                <a:moveTo>
                  <a:pt x="200" y="149"/>
                </a:moveTo>
                <a:cubicBezTo>
                  <a:pt x="199" y="150"/>
                  <a:pt x="201" y="148"/>
                  <a:pt x="200" y="149"/>
                </a:cubicBezTo>
                <a:close/>
                <a:moveTo>
                  <a:pt x="1" y="101"/>
                </a:moveTo>
                <a:cubicBezTo>
                  <a:pt x="1" y="101"/>
                  <a:pt x="1" y="101"/>
                  <a:pt x="1" y="101"/>
                </a:cubicBezTo>
                <a:close/>
                <a:moveTo>
                  <a:pt x="3" y="75"/>
                </a:moveTo>
                <a:cubicBezTo>
                  <a:pt x="3" y="75"/>
                  <a:pt x="3" y="75"/>
                  <a:pt x="3" y="75"/>
                </a:cubicBezTo>
                <a:close/>
                <a:moveTo>
                  <a:pt x="9" y="10"/>
                </a:moveTo>
                <a:cubicBezTo>
                  <a:pt x="9" y="9"/>
                  <a:pt x="8" y="10"/>
                  <a:pt x="9" y="10"/>
                </a:cubicBezTo>
                <a:close/>
                <a:moveTo>
                  <a:pt x="89" y="2"/>
                </a:moveTo>
                <a:cubicBezTo>
                  <a:pt x="89" y="2"/>
                  <a:pt x="89" y="2"/>
                  <a:pt x="89" y="2"/>
                </a:cubicBezTo>
                <a:close/>
                <a:moveTo>
                  <a:pt x="106" y="2"/>
                </a:moveTo>
                <a:cubicBezTo>
                  <a:pt x="106" y="3"/>
                  <a:pt x="106" y="2"/>
                  <a:pt x="106" y="2"/>
                </a:cubicBezTo>
                <a:close/>
                <a:moveTo>
                  <a:pt x="155" y="2"/>
                </a:moveTo>
                <a:cubicBezTo>
                  <a:pt x="156" y="3"/>
                  <a:pt x="155" y="2"/>
                  <a:pt x="155" y="2"/>
                </a:cubicBezTo>
                <a:close/>
                <a:moveTo>
                  <a:pt x="182" y="2"/>
                </a:moveTo>
                <a:cubicBezTo>
                  <a:pt x="182" y="3"/>
                  <a:pt x="181" y="2"/>
                  <a:pt x="182" y="2"/>
                </a:cubicBezTo>
                <a:close/>
                <a:moveTo>
                  <a:pt x="182" y="2"/>
                </a:moveTo>
                <a:cubicBezTo>
                  <a:pt x="182" y="3"/>
                  <a:pt x="182" y="2"/>
                  <a:pt x="182" y="2"/>
                </a:cubicBezTo>
                <a:close/>
                <a:moveTo>
                  <a:pt x="45" y="3"/>
                </a:moveTo>
                <a:cubicBezTo>
                  <a:pt x="45" y="3"/>
                  <a:pt x="45" y="3"/>
                  <a:pt x="45" y="3"/>
                </a:cubicBezTo>
                <a:close/>
                <a:moveTo>
                  <a:pt x="105" y="3"/>
                </a:moveTo>
                <a:cubicBezTo>
                  <a:pt x="106" y="3"/>
                  <a:pt x="105" y="3"/>
                  <a:pt x="105" y="3"/>
                </a:cubicBezTo>
                <a:close/>
                <a:moveTo>
                  <a:pt x="67" y="3"/>
                </a:moveTo>
                <a:cubicBezTo>
                  <a:pt x="67" y="3"/>
                  <a:pt x="67" y="3"/>
                  <a:pt x="67" y="3"/>
                </a:cubicBezTo>
                <a:close/>
                <a:moveTo>
                  <a:pt x="69" y="3"/>
                </a:moveTo>
                <a:cubicBezTo>
                  <a:pt x="69" y="3"/>
                  <a:pt x="69" y="3"/>
                  <a:pt x="69" y="3"/>
                </a:cubicBezTo>
                <a:close/>
                <a:moveTo>
                  <a:pt x="174" y="3"/>
                </a:moveTo>
                <a:cubicBezTo>
                  <a:pt x="174" y="3"/>
                  <a:pt x="174" y="3"/>
                  <a:pt x="174" y="3"/>
                </a:cubicBezTo>
                <a:close/>
                <a:moveTo>
                  <a:pt x="43" y="4"/>
                </a:moveTo>
                <a:cubicBezTo>
                  <a:pt x="44" y="4"/>
                  <a:pt x="43" y="3"/>
                  <a:pt x="43" y="4"/>
                </a:cubicBezTo>
                <a:close/>
                <a:moveTo>
                  <a:pt x="44" y="4"/>
                </a:moveTo>
                <a:cubicBezTo>
                  <a:pt x="44" y="4"/>
                  <a:pt x="44" y="3"/>
                  <a:pt x="44" y="4"/>
                </a:cubicBezTo>
                <a:close/>
                <a:moveTo>
                  <a:pt x="60" y="4"/>
                </a:moveTo>
                <a:cubicBezTo>
                  <a:pt x="60" y="4"/>
                  <a:pt x="60" y="3"/>
                  <a:pt x="60" y="4"/>
                </a:cubicBezTo>
                <a:close/>
                <a:moveTo>
                  <a:pt x="104" y="4"/>
                </a:moveTo>
                <a:cubicBezTo>
                  <a:pt x="104" y="4"/>
                  <a:pt x="104" y="3"/>
                  <a:pt x="104" y="4"/>
                </a:cubicBezTo>
                <a:close/>
                <a:moveTo>
                  <a:pt x="103" y="4"/>
                </a:moveTo>
                <a:cubicBezTo>
                  <a:pt x="103" y="4"/>
                  <a:pt x="103" y="4"/>
                  <a:pt x="103" y="4"/>
                </a:cubicBezTo>
                <a:close/>
                <a:moveTo>
                  <a:pt x="27" y="4"/>
                </a:moveTo>
                <a:cubicBezTo>
                  <a:pt x="27" y="4"/>
                  <a:pt x="27" y="4"/>
                  <a:pt x="27" y="4"/>
                </a:cubicBezTo>
                <a:close/>
                <a:moveTo>
                  <a:pt x="59" y="4"/>
                </a:moveTo>
                <a:cubicBezTo>
                  <a:pt x="59" y="4"/>
                  <a:pt x="59" y="4"/>
                  <a:pt x="59" y="4"/>
                </a:cubicBezTo>
                <a:close/>
                <a:moveTo>
                  <a:pt x="104" y="4"/>
                </a:moveTo>
                <a:cubicBezTo>
                  <a:pt x="104" y="4"/>
                  <a:pt x="104" y="4"/>
                  <a:pt x="104" y="4"/>
                </a:cubicBezTo>
                <a:close/>
                <a:moveTo>
                  <a:pt x="169" y="4"/>
                </a:moveTo>
                <a:cubicBezTo>
                  <a:pt x="170" y="4"/>
                  <a:pt x="169" y="4"/>
                  <a:pt x="169" y="4"/>
                </a:cubicBezTo>
                <a:close/>
                <a:moveTo>
                  <a:pt x="26" y="4"/>
                </a:moveTo>
                <a:cubicBezTo>
                  <a:pt x="26" y="5"/>
                  <a:pt x="26" y="4"/>
                  <a:pt x="26" y="4"/>
                </a:cubicBezTo>
                <a:close/>
                <a:moveTo>
                  <a:pt x="50" y="4"/>
                </a:moveTo>
                <a:cubicBezTo>
                  <a:pt x="51" y="5"/>
                  <a:pt x="50" y="4"/>
                  <a:pt x="50" y="4"/>
                </a:cubicBezTo>
                <a:close/>
                <a:moveTo>
                  <a:pt x="190" y="5"/>
                </a:moveTo>
                <a:cubicBezTo>
                  <a:pt x="190" y="5"/>
                  <a:pt x="190" y="5"/>
                  <a:pt x="190" y="5"/>
                </a:cubicBezTo>
                <a:close/>
                <a:moveTo>
                  <a:pt x="20" y="5"/>
                </a:moveTo>
                <a:cubicBezTo>
                  <a:pt x="20" y="5"/>
                  <a:pt x="20" y="5"/>
                  <a:pt x="20" y="5"/>
                </a:cubicBezTo>
                <a:close/>
                <a:moveTo>
                  <a:pt x="19" y="6"/>
                </a:moveTo>
                <a:cubicBezTo>
                  <a:pt x="19" y="6"/>
                  <a:pt x="19" y="6"/>
                  <a:pt x="19" y="6"/>
                </a:cubicBezTo>
                <a:close/>
                <a:moveTo>
                  <a:pt x="13" y="7"/>
                </a:moveTo>
                <a:cubicBezTo>
                  <a:pt x="13" y="7"/>
                  <a:pt x="12" y="6"/>
                  <a:pt x="13" y="7"/>
                </a:cubicBezTo>
                <a:close/>
                <a:moveTo>
                  <a:pt x="11" y="8"/>
                </a:moveTo>
                <a:cubicBezTo>
                  <a:pt x="11" y="8"/>
                  <a:pt x="11" y="8"/>
                  <a:pt x="11" y="8"/>
                </a:cubicBezTo>
                <a:close/>
                <a:moveTo>
                  <a:pt x="198" y="8"/>
                </a:moveTo>
                <a:cubicBezTo>
                  <a:pt x="199" y="8"/>
                  <a:pt x="198" y="8"/>
                  <a:pt x="198" y="8"/>
                </a:cubicBezTo>
                <a:close/>
                <a:moveTo>
                  <a:pt x="10" y="9"/>
                </a:moveTo>
                <a:cubicBezTo>
                  <a:pt x="10" y="9"/>
                  <a:pt x="10" y="9"/>
                  <a:pt x="10" y="9"/>
                </a:cubicBezTo>
                <a:close/>
                <a:moveTo>
                  <a:pt x="9" y="9"/>
                </a:moveTo>
                <a:cubicBezTo>
                  <a:pt x="9" y="10"/>
                  <a:pt x="9" y="9"/>
                  <a:pt x="9" y="9"/>
                </a:cubicBezTo>
                <a:close/>
                <a:moveTo>
                  <a:pt x="202" y="9"/>
                </a:moveTo>
                <a:cubicBezTo>
                  <a:pt x="203" y="10"/>
                  <a:pt x="202" y="9"/>
                  <a:pt x="202" y="9"/>
                </a:cubicBezTo>
                <a:close/>
                <a:moveTo>
                  <a:pt x="7" y="11"/>
                </a:moveTo>
                <a:cubicBezTo>
                  <a:pt x="8" y="11"/>
                  <a:pt x="7" y="10"/>
                  <a:pt x="7" y="11"/>
                </a:cubicBezTo>
                <a:close/>
                <a:moveTo>
                  <a:pt x="8" y="11"/>
                </a:moveTo>
                <a:cubicBezTo>
                  <a:pt x="8" y="11"/>
                  <a:pt x="8" y="10"/>
                  <a:pt x="8" y="11"/>
                </a:cubicBezTo>
                <a:close/>
                <a:moveTo>
                  <a:pt x="8" y="11"/>
                </a:moveTo>
                <a:cubicBezTo>
                  <a:pt x="8" y="11"/>
                  <a:pt x="8" y="11"/>
                  <a:pt x="8" y="11"/>
                </a:cubicBezTo>
                <a:close/>
                <a:moveTo>
                  <a:pt x="6" y="16"/>
                </a:moveTo>
                <a:cubicBezTo>
                  <a:pt x="6" y="16"/>
                  <a:pt x="6" y="16"/>
                  <a:pt x="6" y="16"/>
                </a:cubicBezTo>
                <a:close/>
                <a:moveTo>
                  <a:pt x="6" y="18"/>
                </a:moveTo>
                <a:cubicBezTo>
                  <a:pt x="7" y="18"/>
                  <a:pt x="6" y="18"/>
                  <a:pt x="6" y="18"/>
                </a:cubicBezTo>
                <a:close/>
                <a:moveTo>
                  <a:pt x="6" y="18"/>
                </a:moveTo>
                <a:cubicBezTo>
                  <a:pt x="6" y="19"/>
                  <a:pt x="6" y="17"/>
                  <a:pt x="6" y="18"/>
                </a:cubicBezTo>
                <a:close/>
                <a:moveTo>
                  <a:pt x="5" y="19"/>
                </a:moveTo>
                <a:cubicBezTo>
                  <a:pt x="5" y="19"/>
                  <a:pt x="5" y="19"/>
                  <a:pt x="5" y="19"/>
                </a:cubicBezTo>
                <a:close/>
                <a:moveTo>
                  <a:pt x="5" y="20"/>
                </a:moveTo>
                <a:cubicBezTo>
                  <a:pt x="5" y="20"/>
                  <a:pt x="5" y="20"/>
                  <a:pt x="5" y="20"/>
                </a:cubicBezTo>
                <a:close/>
                <a:moveTo>
                  <a:pt x="4" y="22"/>
                </a:moveTo>
                <a:cubicBezTo>
                  <a:pt x="5" y="22"/>
                  <a:pt x="4" y="22"/>
                  <a:pt x="4" y="22"/>
                </a:cubicBezTo>
                <a:close/>
                <a:moveTo>
                  <a:pt x="206" y="22"/>
                </a:moveTo>
                <a:cubicBezTo>
                  <a:pt x="207" y="22"/>
                  <a:pt x="206" y="22"/>
                  <a:pt x="206" y="22"/>
                </a:cubicBezTo>
                <a:close/>
                <a:moveTo>
                  <a:pt x="4" y="23"/>
                </a:moveTo>
                <a:cubicBezTo>
                  <a:pt x="4" y="23"/>
                  <a:pt x="4" y="23"/>
                  <a:pt x="4" y="23"/>
                </a:cubicBezTo>
                <a:close/>
                <a:moveTo>
                  <a:pt x="5" y="30"/>
                </a:moveTo>
                <a:cubicBezTo>
                  <a:pt x="5" y="30"/>
                  <a:pt x="5" y="30"/>
                  <a:pt x="5" y="30"/>
                </a:cubicBezTo>
                <a:close/>
                <a:moveTo>
                  <a:pt x="4" y="33"/>
                </a:moveTo>
                <a:cubicBezTo>
                  <a:pt x="5" y="33"/>
                  <a:pt x="4" y="33"/>
                  <a:pt x="4" y="33"/>
                </a:cubicBezTo>
                <a:close/>
                <a:moveTo>
                  <a:pt x="4" y="34"/>
                </a:moveTo>
                <a:cubicBezTo>
                  <a:pt x="5" y="34"/>
                  <a:pt x="4" y="33"/>
                  <a:pt x="4" y="34"/>
                </a:cubicBezTo>
                <a:close/>
                <a:moveTo>
                  <a:pt x="206" y="39"/>
                </a:moveTo>
                <a:cubicBezTo>
                  <a:pt x="206" y="39"/>
                  <a:pt x="206" y="39"/>
                  <a:pt x="206" y="39"/>
                </a:cubicBezTo>
                <a:close/>
                <a:moveTo>
                  <a:pt x="206" y="40"/>
                </a:moveTo>
                <a:cubicBezTo>
                  <a:pt x="207" y="40"/>
                  <a:pt x="206" y="40"/>
                  <a:pt x="206" y="40"/>
                </a:cubicBezTo>
                <a:close/>
                <a:moveTo>
                  <a:pt x="206" y="48"/>
                </a:moveTo>
                <a:cubicBezTo>
                  <a:pt x="207" y="48"/>
                  <a:pt x="206" y="47"/>
                  <a:pt x="206" y="48"/>
                </a:cubicBezTo>
                <a:close/>
                <a:moveTo>
                  <a:pt x="205" y="49"/>
                </a:moveTo>
                <a:cubicBezTo>
                  <a:pt x="206" y="49"/>
                  <a:pt x="205" y="49"/>
                  <a:pt x="205" y="49"/>
                </a:cubicBezTo>
                <a:close/>
                <a:moveTo>
                  <a:pt x="4" y="55"/>
                </a:moveTo>
                <a:cubicBezTo>
                  <a:pt x="5" y="55"/>
                  <a:pt x="4" y="55"/>
                  <a:pt x="4" y="55"/>
                </a:cubicBezTo>
                <a:close/>
                <a:moveTo>
                  <a:pt x="4" y="56"/>
                </a:moveTo>
                <a:cubicBezTo>
                  <a:pt x="5" y="56"/>
                  <a:pt x="4" y="56"/>
                  <a:pt x="4" y="56"/>
                </a:cubicBezTo>
                <a:close/>
                <a:moveTo>
                  <a:pt x="208" y="67"/>
                </a:moveTo>
                <a:cubicBezTo>
                  <a:pt x="208" y="67"/>
                  <a:pt x="208" y="67"/>
                  <a:pt x="208" y="67"/>
                </a:cubicBezTo>
                <a:close/>
                <a:moveTo>
                  <a:pt x="4" y="70"/>
                </a:moveTo>
                <a:cubicBezTo>
                  <a:pt x="5" y="73"/>
                  <a:pt x="3" y="69"/>
                  <a:pt x="4" y="70"/>
                </a:cubicBezTo>
                <a:close/>
                <a:moveTo>
                  <a:pt x="4" y="71"/>
                </a:moveTo>
                <a:cubicBezTo>
                  <a:pt x="5" y="71"/>
                  <a:pt x="4" y="70"/>
                  <a:pt x="4" y="71"/>
                </a:cubicBezTo>
                <a:close/>
                <a:moveTo>
                  <a:pt x="4" y="75"/>
                </a:moveTo>
                <a:cubicBezTo>
                  <a:pt x="5" y="75"/>
                  <a:pt x="4" y="74"/>
                  <a:pt x="4" y="75"/>
                </a:cubicBezTo>
                <a:close/>
                <a:moveTo>
                  <a:pt x="4" y="75"/>
                </a:moveTo>
                <a:cubicBezTo>
                  <a:pt x="4" y="75"/>
                  <a:pt x="4" y="75"/>
                  <a:pt x="4" y="75"/>
                </a:cubicBezTo>
                <a:close/>
                <a:moveTo>
                  <a:pt x="4" y="75"/>
                </a:moveTo>
                <a:cubicBezTo>
                  <a:pt x="5" y="75"/>
                  <a:pt x="4" y="75"/>
                  <a:pt x="4" y="75"/>
                </a:cubicBezTo>
                <a:close/>
                <a:moveTo>
                  <a:pt x="4" y="76"/>
                </a:moveTo>
                <a:cubicBezTo>
                  <a:pt x="4" y="76"/>
                  <a:pt x="4" y="76"/>
                  <a:pt x="4" y="76"/>
                </a:cubicBezTo>
                <a:close/>
                <a:moveTo>
                  <a:pt x="3" y="77"/>
                </a:moveTo>
                <a:cubicBezTo>
                  <a:pt x="3" y="77"/>
                  <a:pt x="3" y="77"/>
                  <a:pt x="3" y="77"/>
                </a:cubicBezTo>
                <a:close/>
                <a:moveTo>
                  <a:pt x="209" y="83"/>
                </a:moveTo>
                <a:cubicBezTo>
                  <a:pt x="209" y="83"/>
                  <a:pt x="208" y="83"/>
                  <a:pt x="209" y="83"/>
                </a:cubicBezTo>
                <a:close/>
                <a:moveTo>
                  <a:pt x="207" y="92"/>
                </a:moveTo>
                <a:cubicBezTo>
                  <a:pt x="207" y="93"/>
                  <a:pt x="207" y="92"/>
                  <a:pt x="207" y="92"/>
                </a:cubicBezTo>
                <a:close/>
                <a:moveTo>
                  <a:pt x="4" y="93"/>
                </a:moveTo>
                <a:cubicBezTo>
                  <a:pt x="4" y="93"/>
                  <a:pt x="4" y="93"/>
                  <a:pt x="4" y="93"/>
                </a:cubicBezTo>
                <a:close/>
                <a:moveTo>
                  <a:pt x="3" y="94"/>
                </a:moveTo>
                <a:cubicBezTo>
                  <a:pt x="4" y="94"/>
                  <a:pt x="3" y="94"/>
                  <a:pt x="3" y="94"/>
                </a:cubicBezTo>
                <a:close/>
                <a:moveTo>
                  <a:pt x="3" y="94"/>
                </a:moveTo>
                <a:cubicBezTo>
                  <a:pt x="3" y="94"/>
                  <a:pt x="3" y="94"/>
                  <a:pt x="3" y="94"/>
                </a:cubicBezTo>
                <a:close/>
                <a:moveTo>
                  <a:pt x="3" y="95"/>
                </a:moveTo>
                <a:cubicBezTo>
                  <a:pt x="3" y="95"/>
                  <a:pt x="3" y="95"/>
                  <a:pt x="3" y="95"/>
                </a:cubicBezTo>
                <a:close/>
                <a:moveTo>
                  <a:pt x="3" y="95"/>
                </a:moveTo>
                <a:cubicBezTo>
                  <a:pt x="3" y="95"/>
                  <a:pt x="2" y="95"/>
                  <a:pt x="3" y="95"/>
                </a:cubicBezTo>
                <a:close/>
                <a:moveTo>
                  <a:pt x="209" y="97"/>
                </a:moveTo>
                <a:cubicBezTo>
                  <a:pt x="209" y="98"/>
                  <a:pt x="208" y="97"/>
                  <a:pt x="209" y="97"/>
                </a:cubicBezTo>
                <a:close/>
                <a:moveTo>
                  <a:pt x="2" y="99"/>
                </a:moveTo>
                <a:cubicBezTo>
                  <a:pt x="2" y="100"/>
                  <a:pt x="2" y="98"/>
                  <a:pt x="2" y="99"/>
                </a:cubicBezTo>
                <a:close/>
                <a:moveTo>
                  <a:pt x="2" y="103"/>
                </a:moveTo>
                <a:cubicBezTo>
                  <a:pt x="2" y="103"/>
                  <a:pt x="2" y="103"/>
                  <a:pt x="2" y="103"/>
                </a:cubicBezTo>
                <a:close/>
                <a:moveTo>
                  <a:pt x="207" y="105"/>
                </a:moveTo>
                <a:cubicBezTo>
                  <a:pt x="207" y="105"/>
                  <a:pt x="207" y="104"/>
                  <a:pt x="207" y="105"/>
                </a:cubicBezTo>
                <a:close/>
                <a:moveTo>
                  <a:pt x="2" y="106"/>
                </a:moveTo>
                <a:cubicBezTo>
                  <a:pt x="2" y="106"/>
                  <a:pt x="1" y="106"/>
                  <a:pt x="2" y="106"/>
                </a:cubicBezTo>
                <a:close/>
                <a:moveTo>
                  <a:pt x="4" y="112"/>
                </a:moveTo>
                <a:cubicBezTo>
                  <a:pt x="4" y="113"/>
                  <a:pt x="4" y="112"/>
                  <a:pt x="4" y="112"/>
                </a:cubicBezTo>
                <a:close/>
                <a:moveTo>
                  <a:pt x="5" y="112"/>
                </a:moveTo>
                <a:cubicBezTo>
                  <a:pt x="5" y="113"/>
                  <a:pt x="5" y="112"/>
                  <a:pt x="5" y="112"/>
                </a:cubicBezTo>
                <a:close/>
                <a:moveTo>
                  <a:pt x="3" y="113"/>
                </a:moveTo>
                <a:cubicBezTo>
                  <a:pt x="4" y="113"/>
                  <a:pt x="3" y="113"/>
                  <a:pt x="3" y="113"/>
                </a:cubicBezTo>
                <a:close/>
                <a:moveTo>
                  <a:pt x="4" y="113"/>
                </a:moveTo>
                <a:cubicBezTo>
                  <a:pt x="4" y="113"/>
                  <a:pt x="4" y="113"/>
                  <a:pt x="4" y="113"/>
                </a:cubicBezTo>
                <a:close/>
                <a:moveTo>
                  <a:pt x="3" y="114"/>
                </a:moveTo>
                <a:cubicBezTo>
                  <a:pt x="4" y="114"/>
                  <a:pt x="3" y="114"/>
                  <a:pt x="3" y="114"/>
                </a:cubicBezTo>
                <a:close/>
                <a:moveTo>
                  <a:pt x="207" y="115"/>
                </a:moveTo>
                <a:cubicBezTo>
                  <a:pt x="208" y="116"/>
                  <a:pt x="208" y="114"/>
                  <a:pt x="207" y="115"/>
                </a:cubicBezTo>
                <a:close/>
                <a:moveTo>
                  <a:pt x="3" y="115"/>
                </a:moveTo>
                <a:cubicBezTo>
                  <a:pt x="3" y="115"/>
                  <a:pt x="3" y="115"/>
                  <a:pt x="3" y="115"/>
                </a:cubicBezTo>
                <a:close/>
                <a:moveTo>
                  <a:pt x="3" y="116"/>
                </a:moveTo>
                <a:cubicBezTo>
                  <a:pt x="3" y="116"/>
                  <a:pt x="2" y="116"/>
                  <a:pt x="3" y="116"/>
                </a:cubicBezTo>
                <a:close/>
                <a:moveTo>
                  <a:pt x="3" y="117"/>
                </a:moveTo>
                <a:cubicBezTo>
                  <a:pt x="3" y="117"/>
                  <a:pt x="2" y="117"/>
                  <a:pt x="3" y="117"/>
                </a:cubicBezTo>
                <a:close/>
                <a:moveTo>
                  <a:pt x="2" y="118"/>
                </a:moveTo>
                <a:cubicBezTo>
                  <a:pt x="2" y="118"/>
                  <a:pt x="2" y="118"/>
                  <a:pt x="2" y="118"/>
                </a:cubicBezTo>
                <a:close/>
                <a:moveTo>
                  <a:pt x="208" y="130"/>
                </a:moveTo>
                <a:cubicBezTo>
                  <a:pt x="208" y="130"/>
                  <a:pt x="208" y="130"/>
                  <a:pt x="208" y="130"/>
                </a:cubicBezTo>
                <a:close/>
                <a:moveTo>
                  <a:pt x="208" y="131"/>
                </a:moveTo>
                <a:cubicBezTo>
                  <a:pt x="208" y="131"/>
                  <a:pt x="208" y="131"/>
                  <a:pt x="208" y="131"/>
                </a:cubicBezTo>
                <a:close/>
                <a:moveTo>
                  <a:pt x="4" y="132"/>
                </a:moveTo>
                <a:cubicBezTo>
                  <a:pt x="4" y="132"/>
                  <a:pt x="4" y="132"/>
                  <a:pt x="4" y="132"/>
                </a:cubicBezTo>
                <a:close/>
                <a:moveTo>
                  <a:pt x="4" y="133"/>
                </a:moveTo>
                <a:cubicBezTo>
                  <a:pt x="4" y="133"/>
                  <a:pt x="4" y="132"/>
                  <a:pt x="4" y="133"/>
                </a:cubicBezTo>
                <a:close/>
                <a:moveTo>
                  <a:pt x="209" y="134"/>
                </a:moveTo>
                <a:cubicBezTo>
                  <a:pt x="209" y="134"/>
                  <a:pt x="209" y="134"/>
                  <a:pt x="209" y="134"/>
                </a:cubicBezTo>
                <a:close/>
                <a:moveTo>
                  <a:pt x="3" y="135"/>
                </a:moveTo>
                <a:cubicBezTo>
                  <a:pt x="3" y="135"/>
                  <a:pt x="3" y="135"/>
                  <a:pt x="3" y="135"/>
                </a:cubicBezTo>
                <a:close/>
                <a:moveTo>
                  <a:pt x="203" y="148"/>
                </a:moveTo>
                <a:cubicBezTo>
                  <a:pt x="203" y="148"/>
                  <a:pt x="203" y="148"/>
                  <a:pt x="203" y="148"/>
                </a:cubicBezTo>
                <a:close/>
                <a:moveTo>
                  <a:pt x="149" y="165"/>
                </a:moveTo>
                <a:cubicBezTo>
                  <a:pt x="150" y="166"/>
                  <a:pt x="150" y="164"/>
                  <a:pt x="149" y="165"/>
                </a:cubicBezTo>
                <a:close/>
                <a:moveTo>
                  <a:pt x="136" y="173"/>
                </a:moveTo>
                <a:cubicBezTo>
                  <a:pt x="137" y="174"/>
                  <a:pt x="135" y="172"/>
                  <a:pt x="136" y="173"/>
                </a:cubicBezTo>
                <a:close/>
                <a:moveTo>
                  <a:pt x="137" y="173"/>
                </a:moveTo>
                <a:cubicBezTo>
                  <a:pt x="137" y="174"/>
                  <a:pt x="137" y="173"/>
                  <a:pt x="137" y="173"/>
                </a:cubicBezTo>
                <a:close/>
                <a:moveTo>
                  <a:pt x="137" y="174"/>
                </a:moveTo>
                <a:cubicBezTo>
                  <a:pt x="137" y="174"/>
                  <a:pt x="136" y="174"/>
                  <a:pt x="137" y="174"/>
                </a:cubicBezTo>
                <a:close/>
                <a:moveTo>
                  <a:pt x="159" y="188"/>
                </a:moveTo>
                <a:cubicBezTo>
                  <a:pt x="159" y="189"/>
                  <a:pt x="159" y="188"/>
                  <a:pt x="159" y="188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600" dirty="0">
              <a:solidFill>
                <a:schemeClr val="bg1"/>
              </a:solidFill>
            </a:endParaRP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season</a:t>
            </a:r>
          </a:p>
        </p:txBody>
      </p:sp>
      <p:grpSp>
        <p:nvGrpSpPr>
          <p:cNvPr id="98" name="Group 97">
            <a:extLst>
              <a:ext uri="{FF2B5EF4-FFF2-40B4-BE49-F238E27FC236}">
                <a16:creationId xmlns:a16="http://schemas.microsoft.com/office/drawing/2014/main" id="{8D731BA1-2B9D-16EF-A98D-30B1E466A0B5}"/>
              </a:ext>
            </a:extLst>
          </p:cNvPr>
          <p:cNvGrpSpPr/>
          <p:nvPr/>
        </p:nvGrpSpPr>
        <p:grpSpPr>
          <a:xfrm>
            <a:off x="6652965" y="3259074"/>
            <a:ext cx="1519507" cy="876197"/>
            <a:chOff x="191102" y="781095"/>
            <a:chExt cx="3501797" cy="1181185"/>
          </a:xfrm>
        </p:grpSpPr>
        <p:sp>
          <p:nvSpPr>
            <p:cNvPr id="99" name="Freeform 97">
              <a:extLst>
                <a:ext uri="{FF2B5EF4-FFF2-40B4-BE49-F238E27FC236}">
                  <a16:creationId xmlns:a16="http://schemas.microsoft.com/office/drawing/2014/main" id="{5BEBD6FC-D22F-FA15-659A-7C48212670AE}"/>
                </a:ext>
              </a:extLst>
            </p:cNvPr>
            <p:cNvSpPr>
              <a:spLocks noChangeAspect="1"/>
            </p:cNvSpPr>
            <p:nvPr/>
          </p:nvSpPr>
          <p:spPr bwMode="auto">
            <a:xfrm flipH="1">
              <a:off x="191102" y="781095"/>
              <a:ext cx="2655214" cy="1181185"/>
            </a:xfrm>
            <a:custGeom>
              <a:avLst/>
              <a:gdLst>
                <a:gd name="T0" fmla="*/ 132 w 151"/>
                <a:gd name="T1" fmla="*/ 3 h 126"/>
                <a:gd name="T2" fmla="*/ 148 w 151"/>
                <a:gd name="T3" fmla="*/ 18 h 126"/>
                <a:gd name="T4" fmla="*/ 149 w 151"/>
                <a:gd name="T5" fmla="*/ 26 h 126"/>
                <a:gd name="T6" fmla="*/ 148 w 151"/>
                <a:gd name="T7" fmla="*/ 41 h 126"/>
                <a:gd name="T8" fmla="*/ 149 w 151"/>
                <a:gd name="T9" fmla="*/ 53 h 126"/>
                <a:gd name="T10" fmla="*/ 146 w 151"/>
                <a:gd name="T11" fmla="*/ 73 h 126"/>
                <a:gd name="T12" fmla="*/ 147 w 151"/>
                <a:gd name="T13" fmla="*/ 73 h 126"/>
                <a:gd name="T14" fmla="*/ 146 w 151"/>
                <a:gd name="T15" fmla="*/ 78 h 126"/>
                <a:gd name="T16" fmla="*/ 148 w 151"/>
                <a:gd name="T17" fmla="*/ 82 h 126"/>
                <a:gd name="T18" fmla="*/ 144 w 151"/>
                <a:gd name="T19" fmla="*/ 90 h 126"/>
                <a:gd name="T20" fmla="*/ 128 w 151"/>
                <a:gd name="T21" fmla="*/ 97 h 126"/>
                <a:gd name="T22" fmla="*/ 121 w 151"/>
                <a:gd name="T23" fmla="*/ 98 h 126"/>
                <a:gd name="T24" fmla="*/ 100 w 151"/>
                <a:gd name="T25" fmla="*/ 98 h 126"/>
                <a:gd name="T26" fmla="*/ 94 w 151"/>
                <a:gd name="T27" fmla="*/ 96 h 126"/>
                <a:gd name="T28" fmla="*/ 80 w 151"/>
                <a:gd name="T29" fmla="*/ 103 h 126"/>
                <a:gd name="T30" fmla="*/ 71 w 151"/>
                <a:gd name="T31" fmla="*/ 109 h 126"/>
                <a:gd name="T32" fmla="*/ 45 w 151"/>
                <a:gd name="T33" fmla="*/ 125 h 126"/>
                <a:gd name="T34" fmla="*/ 47 w 151"/>
                <a:gd name="T35" fmla="*/ 122 h 126"/>
                <a:gd name="T36" fmla="*/ 52 w 151"/>
                <a:gd name="T37" fmla="*/ 108 h 126"/>
                <a:gd name="T38" fmla="*/ 55 w 151"/>
                <a:gd name="T39" fmla="*/ 99 h 126"/>
                <a:gd name="T40" fmla="*/ 31 w 151"/>
                <a:gd name="T41" fmla="*/ 96 h 126"/>
                <a:gd name="T42" fmla="*/ 6 w 151"/>
                <a:gd name="T43" fmla="*/ 92 h 126"/>
                <a:gd name="T44" fmla="*/ 2 w 151"/>
                <a:gd name="T45" fmla="*/ 85 h 126"/>
                <a:gd name="T46" fmla="*/ 3 w 151"/>
                <a:gd name="T47" fmla="*/ 81 h 126"/>
                <a:gd name="T48" fmla="*/ 0 w 151"/>
                <a:gd name="T49" fmla="*/ 52 h 126"/>
                <a:gd name="T50" fmla="*/ 0 w 151"/>
                <a:gd name="T51" fmla="*/ 18 h 126"/>
                <a:gd name="T52" fmla="*/ 2 w 151"/>
                <a:gd name="T53" fmla="*/ 9 h 126"/>
                <a:gd name="T54" fmla="*/ 6 w 151"/>
                <a:gd name="T55" fmla="*/ 4 h 126"/>
                <a:gd name="T56" fmla="*/ 17 w 151"/>
                <a:gd name="T57" fmla="*/ 3 h 126"/>
                <a:gd name="T58" fmla="*/ 43 w 151"/>
                <a:gd name="T59" fmla="*/ 3 h 126"/>
                <a:gd name="T60" fmla="*/ 61 w 151"/>
                <a:gd name="T61" fmla="*/ 2 h 126"/>
                <a:gd name="T62" fmla="*/ 84 w 151"/>
                <a:gd name="T63" fmla="*/ 3 h 126"/>
                <a:gd name="T64" fmla="*/ 118 w 151"/>
                <a:gd name="T65" fmla="*/ 1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1" h="126">
                  <a:moveTo>
                    <a:pt x="118" y="0"/>
                  </a:moveTo>
                  <a:cubicBezTo>
                    <a:pt x="123" y="2"/>
                    <a:pt x="127" y="1"/>
                    <a:pt x="132" y="3"/>
                  </a:cubicBezTo>
                  <a:cubicBezTo>
                    <a:pt x="132" y="1"/>
                    <a:pt x="136" y="6"/>
                    <a:pt x="137" y="3"/>
                  </a:cubicBezTo>
                  <a:cubicBezTo>
                    <a:pt x="144" y="5"/>
                    <a:pt x="146" y="14"/>
                    <a:pt x="148" y="18"/>
                  </a:cubicBezTo>
                  <a:cubicBezTo>
                    <a:pt x="147" y="21"/>
                    <a:pt x="148" y="23"/>
                    <a:pt x="148" y="25"/>
                  </a:cubicBezTo>
                  <a:cubicBezTo>
                    <a:pt x="148" y="26"/>
                    <a:pt x="149" y="25"/>
                    <a:pt x="149" y="26"/>
                  </a:cubicBezTo>
                  <a:cubicBezTo>
                    <a:pt x="151" y="28"/>
                    <a:pt x="149" y="29"/>
                    <a:pt x="148" y="32"/>
                  </a:cubicBezTo>
                  <a:cubicBezTo>
                    <a:pt x="149" y="35"/>
                    <a:pt x="149" y="38"/>
                    <a:pt x="148" y="41"/>
                  </a:cubicBezTo>
                  <a:cubicBezTo>
                    <a:pt x="150" y="43"/>
                    <a:pt x="151" y="44"/>
                    <a:pt x="148" y="46"/>
                  </a:cubicBezTo>
                  <a:cubicBezTo>
                    <a:pt x="148" y="48"/>
                    <a:pt x="148" y="52"/>
                    <a:pt x="149" y="53"/>
                  </a:cubicBezTo>
                  <a:cubicBezTo>
                    <a:pt x="147" y="59"/>
                    <a:pt x="148" y="65"/>
                    <a:pt x="147" y="73"/>
                  </a:cubicBezTo>
                  <a:cubicBezTo>
                    <a:pt x="147" y="73"/>
                    <a:pt x="146" y="73"/>
                    <a:pt x="146" y="73"/>
                  </a:cubicBezTo>
                  <a:cubicBezTo>
                    <a:pt x="146" y="73"/>
                    <a:pt x="147" y="74"/>
                    <a:pt x="147" y="74"/>
                  </a:cubicBezTo>
                  <a:cubicBezTo>
                    <a:pt x="147" y="74"/>
                    <a:pt x="147" y="74"/>
                    <a:pt x="147" y="73"/>
                  </a:cubicBezTo>
                  <a:cubicBezTo>
                    <a:pt x="148" y="74"/>
                    <a:pt x="148" y="78"/>
                    <a:pt x="146" y="77"/>
                  </a:cubicBezTo>
                  <a:cubicBezTo>
                    <a:pt x="146" y="77"/>
                    <a:pt x="146" y="78"/>
                    <a:pt x="146" y="78"/>
                  </a:cubicBezTo>
                  <a:cubicBezTo>
                    <a:pt x="146" y="79"/>
                    <a:pt x="147" y="78"/>
                    <a:pt x="148" y="79"/>
                  </a:cubicBezTo>
                  <a:cubicBezTo>
                    <a:pt x="147" y="79"/>
                    <a:pt x="148" y="81"/>
                    <a:pt x="148" y="82"/>
                  </a:cubicBezTo>
                  <a:cubicBezTo>
                    <a:pt x="144" y="84"/>
                    <a:pt x="146" y="88"/>
                    <a:pt x="143" y="88"/>
                  </a:cubicBezTo>
                  <a:cubicBezTo>
                    <a:pt x="144" y="89"/>
                    <a:pt x="142" y="90"/>
                    <a:pt x="144" y="90"/>
                  </a:cubicBezTo>
                  <a:cubicBezTo>
                    <a:pt x="142" y="92"/>
                    <a:pt x="141" y="94"/>
                    <a:pt x="139" y="95"/>
                  </a:cubicBezTo>
                  <a:cubicBezTo>
                    <a:pt x="135" y="97"/>
                    <a:pt x="132" y="96"/>
                    <a:pt x="128" y="97"/>
                  </a:cubicBezTo>
                  <a:cubicBezTo>
                    <a:pt x="127" y="97"/>
                    <a:pt x="126" y="96"/>
                    <a:pt x="125" y="96"/>
                  </a:cubicBezTo>
                  <a:cubicBezTo>
                    <a:pt x="123" y="97"/>
                    <a:pt x="123" y="98"/>
                    <a:pt x="121" y="98"/>
                  </a:cubicBezTo>
                  <a:cubicBezTo>
                    <a:pt x="119" y="96"/>
                    <a:pt x="116" y="95"/>
                    <a:pt x="113" y="97"/>
                  </a:cubicBezTo>
                  <a:cubicBezTo>
                    <a:pt x="110" y="94"/>
                    <a:pt x="103" y="95"/>
                    <a:pt x="100" y="98"/>
                  </a:cubicBezTo>
                  <a:cubicBezTo>
                    <a:pt x="98" y="97"/>
                    <a:pt x="97" y="96"/>
                    <a:pt x="95" y="95"/>
                  </a:cubicBezTo>
                  <a:cubicBezTo>
                    <a:pt x="95" y="95"/>
                    <a:pt x="95" y="96"/>
                    <a:pt x="94" y="96"/>
                  </a:cubicBezTo>
                  <a:cubicBezTo>
                    <a:pt x="93" y="97"/>
                    <a:pt x="90" y="96"/>
                    <a:pt x="90" y="98"/>
                  </a:cubicBezTo>
                  <a:cubicBezTo>
                    <a:pt x="86" y="98"/>
                    <a:pt x="83" y="103"/>
                    <a:pt x="80" y="103"/>
                  </a:cubicBezTo>
                  <a:cubicBezTo>
                    <a:pt x="78" y="105"/>
                    <a:pt x="74" y="106"/>
                    <a:pt x="73" y="109"/>
                  </a:cubicBezTo>
                  <a:cubicBezTo>
                    <a:pt x="72" y="108"/>
                    <a:pt x="72" y="109"/>
                    <a:pt x="71" y="109"/>
                  </a:cubicBezTo>
                  <a:cubicBezTo>
                    <a:pt x="66" y="115"/>
                    <a:pt x="56" y="117"/>
                    <a:pt x="51" y="125"/>
                  </a:cubicBezTo>
                  <a:cubicBezTo>
                    <a:pt x="50" y="124"/>
                    <a:pt x="47" y="126"/>
                    <a:pt x="45" y="125"/>
                  </a:cubicBezTo>
                  <a:cubicBezTo>
                    <a:pt x="45" y="124"/>
                    <a:pt x="46" y="123"/>
                    <a:pt x="47" y="121"/>
                  </a:cubicBezTo>
                  <a:cubicBezTo>
                    <a:pt x="47" y="122"/>
                    <a:pt x="46" y="122"/>
                    <a:pt x="47" y="122"/>
                  </a:cubicBezTo>
                  <a:cubicBezTo>
                    <a:pt x="48" y="121"/>
                    <a:pt x="47" y="117"/>
                    <a:pt x="49" y="118"/>
                  </a:cubicBezTo>
                  <a:cubicBezTo>
                    <a:pt x="49" y="115"/>
                    <a:pt x="52" y="112"/>
                    <a:pt x="52" y="108"/>
                  </a:cubicBezTo>
                  <a:cubicBezTo>
                    <a:pt x="55" y="105"/>
                    <a:pt x="55" y="103"/>
                    <a:pt x="57" y="99"/>
                  </a:cubicBezTo>
                  <a:cubicBezTo>
                    <a:pt x="56" y="99"/>
                    <a:pt x="56" y="99"/>
                    <a:pt x="55" y="99"/>
                  </a:cubicBezTo>
                  <a:cubicBezTo>
                    <a:pt x="53" y="96"/>
                    <a:pt x="44" y="95"/>
                    <a:pt x="40" y="98"/>
                  </a:cubicBezTo>
                  <a:cubicBezTo>
                    <a:pt x="38" y="96"/>
                    <a:pt x="33" y="98"/>
                    <a:pt x="31" y="96"/>
                  </a:cubicBezTo>
                  <a:cubicBezTo>
                    <a:pt x="27" y="98"/>
                    <a:pt x="20" y="96"/>
                    <a:pt x="17" y="98"/>
                  </a:cubicBezTo>
                  <a:cubicBezTo>
                    <a:pt x="14" y="95"/>
                    <a:pt x="10" y="96"/>
                    <a:pt x="6" y="92"/>
                  </a:cubicBezTo>
                  <a:cubicBezTo>
                    <a:pt x="6" y="90"/>
                    <a:pt x="6" y="90"/>
                    <a:pt x="4" y="89"/>
                  </a:cubicBezTo>
                  <a:cubicBezTo>
                    <a:pt x="6" y="88"/>
                    <a:pt x="4" y="86"/>
                    <a:pt x="2" y="85"/>
                  </a:cubicBezTo>
                  <a:cubicBezTo>
                    <a:pt x="3" y="84"/>
                    <a:pt x="2" y="82"/>
                    <a:pt x="2" y="81"/>
                  </a:cubicBezTo>
                  <a:cubicBezTo>
                    <a:pt x="3" y="82"/>
                    <a:pt x="2" y="80"/>
                    <a:pt x="3" y="81"/>
                  </a:cubicBezTo>
                  <a:cubicBezTo>
                    <a:pt x="1" y="73"/>
                    <a:pt x="2" y="64"/>
                    <a:pt x="1" y="54"/>
                  </a:cubicBezTo>
                  <a:cubicBezTo>
                    <a:pt x="1" y="53"/>
                    <a:pt x="1" y="53"/>
                    <a:pt x="0" y="52"/>
                  </a:cubicBezTo>
                  <a:cubicBezTo>
                    <a:pt x="0" y="52"/>
                    <a:pt x="1" y="52"/>
                    <a:pt x="1" y="52"/>
                  </a:cubicBezTo>
                  <a:cubicBezTo>
                    <a:pt x="2" y="38"/>
                    <a:pt x="0" y="31"/>
                    <a:pt x="0" y="18"/>
                  </a:cubicBezTo>
                  <a:cubicBezTo>
                    <a:pt x="0" y="18"/>
                    <a:pt x="1" y="17"/>
                    <a:pt x="0" y="17"/>
                  </a:cubicBezTo>
                  <a:cubicBezTo>
                    <a:pt x="0" y="15"/>
                    <a:pt x="2" y="12"/>
                    <a:pt x="2" y="9"/>
                  </a:cubicBezTo>
                  <a:cubicBezTo>
                    <a:pt x="3" y="7"/>
                    <a:pt x="4" y="5"/>
                    <a:pt x="6" y="5"/>
                  </a:cubicBezTo>
                  <a:cubicBezTo>
                    <a:pt x="6" y="5"/>
                    <a:pt x="6" y="4"/>
                    <a:pt x="6" y="4"/>
                  </a:cubicBezTo>
                  <a:cubicBezTo>
                    <a:pt x="10" y="3"/>
                    <a:pt x="16" y="4"/>
                    <a:pt x="17" y="2"/>
                  </a:cubicBezTo>
                  <a:cubicBezTo>
                    <a:pt x="18" y="2"/>
                    <a:pt x="17" y="2"/>
                    <a:pt x="17" y="3"/>
                  </a:cubicBezTo>
                  <a:cubicBezTo>
                    <a:pt x="18" y="2"/>
                    <a:pt x="19" y="1"/>
                    <a:pt x="20" y="3"/>
                  </a:cubicBezTo>
                  <a:cubicBezTo>
                    <a:pt x="29" y="2"/>
                    <a:pt x="35" y="1"/>
                    <a:pt x="43" y="3"/>
                  </a:cubicBezTo>
                  <a:cubicBezTo>
                    <a:pt x="44" y="1"/>
                    <a:pt x="47" y="2"/>
                    <a:pt x="47" y="1"/>
                  </a:cubicBezTo>
                  <a:cubicBezTo>
                    <a:pt x="51" y="2"/>
                    <a:pt x="59" y="2"/>
                    <a:pt x="61" y="2"/>
                  </a:cubicBezTo>
                  <a:cubicBezTo>
                    <a:pt x="68" y="4"/>
                    <a:pt x="78" y="2"/>
                    <a:pt x="84" y="3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8" y="2"/>
                    <a:pt x="91" y="4"/>
                    <a:pt x="95" y="2"/>
                  </a:cubicBezTo>
                  <a:cubicBezTo>
                    <a:pt x="101" y="2"/>
                    <a:pt x="112" y="1"/>
                    <a:pt x="118" y="1"/>
                  </a:cubicBezTo>
                  <a:cubicBezTo>
                    <a:pt x="118" y="1"/>
                    <a:pt x="118" y="1"/>
                    <a:pt x="118" y="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200" dirty="0">
                <a:solidFill>
                  <a:schemeClr val="bg1"/>
                </a:solidFill>
              </a:endParaRPr>
            </a:p>
            <a:p>
              <a:pPr algn="ctr"/>
              <a:r>
                <a:rPr lang="en-US" dirty="0">
                  <a:solidFill>
                    <a:schemeClr val="bg1"/>
                  </a:solidFill>
                </a:rPr>
                <a:t>trip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19CB7BCD-C127-5833-36BE-8F18783E6996}"/>
                </a:ext>
              </a:extLst>
            </p:cNvPr>
            <p:cNvSpPr/>
            <p:nvPr/>
          </p:nvSpPr>
          <p:spPr>
            <a:xfrm>
              <a:off x="854046" y="938686"/>
              <a:ext cx="2838853" cy="330494"/>
            </a:xfrm>
            <a:prstGeom prst="rect">
              <a:avLst/>
            </a:prstGeom>
          </p:spPr>
          <p:txBody>
            <a:bodyPr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F21832D6-B7F9-1941-E9E9-28F8D55ECDA5}"/>
              </a:ext>
            </a:extLst>
          </p:cNvPr>
          <p:cNvGrpSpPr/>
          <p:nvPr/>
        </p:nvGrpSpPr>
        <p:grpSpPr>
          <a:xfrm>
            <a:off x="6717519" y="3274838"/>
            <a:ext cx="4542130" cy="3182435"/>
            <a:chOff x="-1865215" y="1300170"/>
            <a:chExt cx="9332318" cy="4579356"/>
          </a:xfrm>
        </p:grpSpPr>
        <p:sp>
          <p:nvSpPr>
            <p:cNvPr id="102" name="Freeform 91">
              <a:extLst>
                <a:ext uri="{FF2B5EF4-FFF2-40B4-BE49-F238E27FC236}">
                  <a16:creationId xmlns:a16="http://schemas.microsoft.com/office/drawing/2014/main" id="{2EF84878-A995-F675-FF3B-A712A6B3C43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-1865215" y="4558498"/>
              <a:ext cx="2567795" cy="1321028"/>
            </a:xfrm>
            <a:custGeom>
              <a:avLst/>
              <a:gdLst>
                <a:gd name="T0" fmla="*/ 171 w 211"/>
                <a:gd name="T1" fmla="*/ 3 h 190"/>
                <a:gd name="T2" fmla="*/ 194 w 211"/>
                <a:gd name="T3" fmla="*/ 6 h 190"/>
                <a:gd name="T4" fmla="*/ 207 w 211"/>
                <a:gd name="T5" fmla="*/ 22 h 190"/>
                <a:gd name="T6" fmla="*/ 208 w 211"/>
                <a:gd name="T7" fmla="*/ 42 h 190"/>
                <a:gd name="T8" fmla="*/ 209 w 211"/>
                <a:gd name="T9" fmla="*/ 65 h 190"/>
                <a:gd name="T10" fmla="*/ 209 w 211"/>
                <a:gd name="T11" fmla="*/ 83 h 190"/>
                <a:gd name="T12" fmla="*/ 210 w 211"/>
                <a:gd name="T13" fmla="*/ 102 h 190"/>
                <a:gd name="T14" fmla="*/ 208 w 211"/>
                <a:gd name="T15" fmla="*/ 114 h 190"/>
                <a:gd name="T16" fmla="*/ 209 w 211"/>
                <a:gd name="T17" fmla="*/ 134 h 190"/>
                <a:gd name="T18" fmla="*/ 196 w 211"/>
                <a:gd name="T19" fmla="*/ 151 h 190"/>
                <a:gd name="T20" fmla="*/ 167 w 211"/>
                <a:gd name="T21" fmla="*/ 153 h 190"/>
                <a:gd name="T22" fmla="*/ 147 w 211"/>
                <a:gd name="T23" fmla="*/ 161 h 190"/>
                <a:gd name="T24" fmla="*/ 156 w 211"/>
                <a:gd name="T25" fmla="*/ 180 h 190"/>
                <a:gd name="T26" fmla="*/ 148 w 211"/>
                <a:gd name="T27" fmla="*/ 183 h 190"/>
                <a:gd name="T28" fmla="*/ 121 w 211"/>
                <a:gd name="T29" fmla="*/ 165 h 190"/>
                <a:gd name="T30" fmla="*/ 84 w 211"/>
                <a:gd name="T31" fmla="*/ 156 h 190"/>
                <a:gd name="T32" fmla="*/ 69 w 211"/>
                <a:gd name="T33" fmla="*/ 152 h 190"/>
                <a:gd name="T34" fmla="*/ 11 w 211"/>
                <a:gd name="T35" fmla="*/ 151 h 190"/>
                <a:gd name="T36" fmla="*/ 2 w 211"/>
                <a:gd name="T37" fmla="*/ 124 h 190"/>
                <a:gd name="T38" fmla="*/ 2 w 211"/>
                <a:gd name="T39" fmla="*/ 108 h 190"/>
                <a:gd name="T40" fmla="*/ 2 w 211"/>
                <a:gd name="T41" fmla="*/ 99 h 190"/>
                <a:gd name="T42" fmla="*/ 3 w 211"/>
                <a:gd name="T43" fmla="*/ 93 h 190"/>
                <a:gd name="T44" fmla="*/ 3 w 211"/>
                <a:gd name="T45" fmla="*/ 75 h 190"/>
                <a:gd name="T46" fmla="*/ 4 w 211"/>
                <a:gd name="T47" fmla="*/ 69 h 190"/>
                <a:gd name="T48" fmla="*/ 4 w 211"/>
                <a:gd name="T49" fmla="*/ 50 h 190"/>
                <a:gd name="T50" fmla="*/ 5 w 211"/>
                <a:gd name="T51" fmla="*/ 30 h 190"/>
                <a:gd name="T52" fmla="*/ 6 w 211"/>
                <a:gd name="T53" fmla="*/ 16 h 190"/>
                <a:gd name="T54" fmla="*/ 10 w 211"/>
                <a:gd name="T55" fmla="*/ 7 h 190"/>
                <a:gd name="T56" fmla="*/ 21 w 211"/>
                <a:gd name="T57" fmla="*/ 4 h 190"/>
                <a:gd name="T58" fmla="*/ 55 w 211"/>
                <a:gd name="T59" fmla="*/ 4 h 190"/>
                <a:gd name="T60" fmla="*/ 73 w 211"/>
                <a:gd name="T61" fmla="*/ 2 h 190"/>
                <a:gd name="T62" fmla="*/ 109 w 211"/>
                <a:gd name="T63" fmla="*/ 2 h 190"/>
                <a:gd name="T64" fmla="*/ 202 w 211"/>
                <a:gd name="T65" fmla="*/ 148 h 190"/>
                <a:gd name="T66" fmla="*/ 9 w 211"/>
                <a:gd name="T67" fmla="*/ 10 h 190"/>
                <a:gd name="T68" fmla="*/ 182 w 211"/>
                <a:gd name="T69" fmla="*/ 2 h 190"/>
                <a:gd name="T70" fmla="*/ 67 w 211"/>
                <a:gd name="T71" fmla="*/ 3 h 190"/>
                <a:gd name="T72" fmla="*/ 44 w 211"/>
                <a:gd name="T73" fmla="*/ 4 h 190"/>
                <a:gd name="T74" fmla="*/ 27 w 211"/>
                <a:gd name="T75" fmla="*/ 4 h 190"/>
                <a:gd name="T76" fmla="*/ 26 w 211"/>
                <a:gd name="T77" fmla="*/ 4 h 190"/>
                <a:gd name="T78" fmla="*/ 19 w 211"/>
                <a:gd name="T79" fmla="*/ 6 h 190"/>
                <a:gd name="T80" fmla="*/ 10 w 211"/>
                <a:gd name="T81" fmla="*/ 9 h 190"/>
                <a:gd name="T82" fmla="*/ 8 w 211"/>
                <a:gd name="T83" fmla="*/ 11 h 190"/>
                <a:gd name="T84" fmla="*/ 6 w 211"/>
                <a:gd name="T85" fmla="*/ 18 h 190"/>
                <a:gd name="T86" fmla="*/ 206 w 211"/>
                <a:gd name="T87" fmla="*/ 22 h 190"/>
                <a:gd name="T88" fmla="*/ 4 w 211"/>
                <a:gd name="T89" fmla="*/ 34 h 190"/>
                <a:gd name="T90" fmla="*/ 205 w 211"/>
                <a:gd name="T91" fmla="*/ 49 h 190"/>
                <a:gd name="T92" fmla="*/ 4 w 211"/>
                <a:gd name="T93" fmla="*/ 70 h 190"/>
                <a:gd name="T94" fmla="*/ 4 w 211"/>
                <a:gd name="T95" fmla="*/ 75 h 190"/>
                <a:gd name="T96" fmla="*/ 207 w 211"/>
                <a:gd name="T97" fmla="*/ 92 h 190"/>
                <a:gd name="T98" fmla="*/ 3 w 211"/>
                <a:gd name="T99" fmla="*/ 95 h 190"/>
                <a:gd name="T100" fmla="*/ 2 w 211"/>
                <a:gd name="T101" fmla="*/ 103 h 190"/>
                <a:gd name="T102" fmla="*/ 5 w 211"/>
                <a:gd name="T103" fmla="*/ 112 h 190"/>
                <a:gd name="T104" fmla="*/ 207 w 211"/>
                <a:gd name="T105" fmla="*/ 115 h 190"/>
                <a:gd name="T106" fmla="*/ 2 w 211"/>
                <a:gd name="T107" fmla="*/ 118 h 190"/>
                <a:gd name="T108" fmla="*/ 4 w 211"/>
                <a:gd name="T109" fmla="*/ 133 h 190"/>
                <a:gd name="T110" fmla="*/ 149 w 211"/>
                <a:gd name="T111" fmla="*/ 165 h 190"/>
                <a:gd name="T112" fmla="*/ 159 w 211"/>
                <a:gd name="T113" fmla="*/ 18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11" h="190">
                  <a:moveTo>
                    <a:pt x="124" y="1"/>
                  </a:moveTo>
                  <a:cubicBezTo>
                    <a:pt x="125" y="1"/>
                    <a:pt x="124" y="1"/>
                    <a:pt x="124" y="1"/>
                  </a:cubicBezTo>
                  <a:cubicBezTo>
                    <a:pt x="132" y="0"/>
                    <a:pt x="142" y="2"/>
                    <a:pt x="154" y="1"/>
                  </a:cubicBezTo>
                  <a:cubicBezTo>
                    <a:pt x="154" y="1"/>
                    <a:pt x="153" y="1"/>
                    <a:pt x="153" y="1"/>
                  </a:cubicBezTo>
                  <a:cubicBezTo>
                    <a:pt x="154" y="1"/>
                    <a:pt x="154" y="1"/>
                    <a:pt x="154" y="2"/>
                  </a:cubicBezTo>
                  <a:cubicBezTo>
                    <a:pt x="154" y="1"/>
                    <a:pt x="155" y="1"/>
                    <a:pt x="155" y="2"/>
                  </a:cubicBezTo>
                  <a:cubicBezTo>
                    <a:pt x="156" y="1"/>
                    <a:pt x="165" y="0"/>
                    <a:pt x="166" y="3"/>
                  </a:cubicBezTo>
                  <a:cubicBezTo>
                    <a:pt x="167" y="1"/>
                    <a:pt x="170" y="4"/>
                    <a:pt x="171" y="3"/>
                  </a:cubicBezTo>
                  <a:cubicBezTo>
                    <a:pt x="172" y="3"/>
                    <a:pt x="172" y="4"/>
                    <a:pt x="174" y="3"/>
                  </a:cubicBezTo>
                  <a:cubicBezTo>
                    <a:pt x="174" y="2"/>
                    <a:pt x="172" y="4"/>
                    <a:pt x="172" y="3"/>
                  </a:cubicBezTo>
                  <a:cubicBezTo>
                    <a:pt x="171" y="3"/>
                    <a:pt x="175" y="2"/>
                    <a:pt x="175" y="3"/>
                  </a:cubicBezTo>
                  <a:cubicBezTo>
                    <a:pt x="176" y="2"/>
                    <a:pt x="179" y="3"/>
                    <a:pt x="180" y="2"/>
                  </a:cubicBezTo>
                  <a:cubicBezTo>
                    <a:pt x="181" y="2"/>
                    <a:pt x="188" y="2"/>
                    <a:pt x="188" y="4"/>
                  </a:cubicBezTo>
                  <a:cubicBezTo>
                    <a:pt x="189" y="3"/>
                    <a:pt x="189" y="4"/>
                    <a:pt x="189" y="4"/>
                  </a:cubicBezTo>
                  <a:cubicBezTo>
                    <a:pt x="191" y="4"/>
                    <a:pt x="192" y="5"/>
                    <a:pt x="195" y="4"/>
                  </a:cubicBezTo>
                  <a:cubicBezTo>
                    <a:pt x="194" y="5"/>
                    <a:pt x="195" y="5"/>
                    <a:pt x="194" y="6"/>
                  </a:cubicBezTo>
                  <a:cubicBezTo>
                    <a:pt x="196" y="8"/>
                    <a:pt x="202" y="6"/>
                    <a:pt x="202" y="8"/>
                  </a:cubicBezTo>
                  <a:cubicBezTo>
                    <a:pt x="202" y="8"/>
                    <a:pt x="202" y="8"/>
                    <a:pt x="203" y="8"/>
                  </a:cubicBezTo>
                  <a:cubicBezTo>
                    <a:pt x="203" y="8"/>
                    <a:pt x="203" y="8"/>
                    <a:pt x="202" y="8"/>
                  </a:cubicBezTo>
                  <a:cubicBezTo>
                    <a:pt x="204" y="9"/>
                    <a:pt x="205" y="11"/>
                    <a:pt x="207" y="12"/>
                  </a:cubicBezTo>
                  <a:cubicBezTo>
                    <a:pt x="206" y="13"/>
                    <a:pt x="207" y="13"/>
                    <a:pt x="208" y="14"/>
                  </a:cubicBezTo>
                  <a:cubicBezTo>
                    <a:pt x="207" y="16"/>
                    <a:pt x="207" y="17"/>
                    <a:pt x="208" y="19"/>
                  </a:cubicBezTo>
                  <a:cubicBezTo>
                    <a:pt x="208" y="19"/>
                    <a:pt x="208" y="19"/>
                    <a:pt x="207" y="19"/>
                  </a:cubicBezTo>
                  <a:cubicBezTo>
                    <a:pt x="207" y="20"/>
                    <a:pt x="208" y="21"/>
                    <a:pt x="207" y="22"/>
                  </a:cubicBezTo>
                  <a:cubicBezTo>
                    <a:pt x="210" y="24"/>
                    <a:pt x="209" y="27"/>
                    <a:pt x="209" y="30"/>
                  </a:cubicBezTo>
                  <a:cubicBezTo>
                    <a:pt x="207" y="29"/>
                    <a:pt x="208" y="31"/>
                    <a:pt x="207" y="32"/>
                  </a:cubicBezTo>
                  <a:cubicBezTo>
                    <a:pt x="208" y="32"/>
                    <a:pt x="207" y="32"/>
                    <a:pt x="207" y="33"/>
                  </a:cubicBezTo>
                  <a:cubicBezTo>
                    <a:pt x="208" y="33"/>
                    <a:pt x="209" y="35"/>
                    <a:pt x="209" y="37"/>
                  </a:cubicBezTo>
                  <a:cubicBezTo>
                    <a:pt x="209" y="38"/>
                    <a:pt x="208" y="37"/>
                    <a:pt x="208" y="38"/>
                  </a:cubicBezTo>
                  <a:cubicBezTo>
                    <a:pt x="208" y="37"/>
                    <a:pt x="207" y="40"/>
                    <a:pt x="207" y="38"/>
                  </a:cubicBezTo>
                  <a:cubicBezTo>
                    <a:pt x="206" y="38"/>
                    <a:pt x="207" y="40"/>
                    <a:pt x="208" y="39"/>
                  </a:cubicBezTo>
                  <a:cubicBezTo>
                    <a:pt x="207" y="40"/>
                    <a:pt x="207" y="41"/>
                    <a:pt x="208" y="42"/>
                  </a:cubicBezTo>
                  <a:cubicBezTo>
                    <a:pt x="208" y="42"/>
                    <a:pt x="207" y="42"/>
                    <a:pt x="206" y="42"/>
                  </a:cubicBezTo>
                  <a:cubicBezTo>
                    <a:pt x="206" y="43"/>
                    <a:pt x="207" y="43"/>
                    <a:pt x="207" y="42"/>
                  </a:cubicBezTo>
                  <a:cubicBezTo>
                    <a:pt x="207" y="45"/>
                    <a:pt x="208" y="46"/>
                    <a:pt x="207" y="48"/>
                  </a:cubicBezTo>
                  <a:cubicBezTo>
                    <a:pt x="206" y="48"/>
                    <a:pt x="207" y="50"/>
                    <a:pt x="206" y="49"/>
                  </a:cubicBezTo>
                  <a:cubicBezTo>
                    <a:pt x="206" y="49"/>
                    <a:pt x="206" y="50"/>
                    <a:pt x="205" y="50"/>
                  </a:cubicBezTo>
                  <a:cubicBezTo>
                    <a:pt x="208" y="51"/>
                    <a:pt x="206" y="55"/>
                    <a:pt x="209" y="56"/>
                  </a:cubicBezTo>
                  <a:cubicBezTo>
                    <a:pt x="208" y="56"/>
                    <a:pt x="208" y="56"/>
                    <a:pt x="208" y="56"/>
                  </a:cubicBezTo>
                  <a:cubicBezTo>
                    <a:pt x="210" y="59"/>
                    <a:pt x="208" y="61"/>
                    <a:pt x="209" y="65"/>
                  </a:cubicBezTo>
                  <a:cubicBezTo>
                    <a:pt x="209" y="66"/>
                    <a:pt x="209" y="65"/>
                    <a:pt x="208" y="65"/>
                  </a:cubicBezTo>
                  <a:cubicBezTo>
                    <a:pt x="208" y="65"/>
                    <a:pt x="209" y="65"/>
                    <a:pt x="209" y="66"/>
                  </a:cubicBezTo>
                  <a:cubicBezTo>
                    <a:pt x="208" y="65"/>
                    <a:pt x="208" y="67"/>
                    <a:pt x="209" y="68"/>
                  </a:cubicBezTo>
                  <a:cubicBezTo>
                    <a:pt x="208" y="68"/>
                    <a:pt x="208" y="68"/>
                    <a:pt x="208" y="67"/>
                  </a:cubicBezTo>
                  <a:cubicBezTo>
                    <a:pt x="207" y="68"/>
                    <a:pt x="209" y="69"/>
                    <a:pt x="209" y="70"/>
                  </a:cubicBezTo>
                  <a:cubicBezTo>
                    <a:pt x="207" y="74"/>
                    <a:pt x="210" y="77"/>
                    <a:pt x="209" y="82"/>
                  </a:cubicBezTo>
                  <a:cubicBezTo>
                    <a:pt x="211" y="81"/>
                    <a:pt x="208" y="82"/>
                    <a:pt x="210" y="82"/>
                  </a:cubicBezTo>
                  <a:cubicBezTo>
                    <a:pt x="209" y="83"/>
                    <a:pt x="209" y="83"/>
                    <a:pt x="209" y="83"/>
                  </a:cubicBezTo>
                  <a:cubicBezTo>
                    <a:pt x="209" y="84"/>
                    <a:pt x="209" y="86"/>
                    <a:pt x="209" y="87"/>
                  </a:cubicBezTo>
                  <a:cubicBezTo>
                    <a:pt x="209" y="88"/>
                    <a:pt x="209" y="88"/>
                    <a:pt x="209" y="89"/>
                  </a:cubicBezTo>
                  <a:cubicBezTo>
                    <a:pt x="209" y="89"/>
                    <a:pt x="209" y="89"/>
                    <a:pt x="209" y="89"/>
                  </a:cubicBezTo>
                  <a:cubicBezTo>
                    <a:pt x="209" y="89"/>
                    <a:pt x="209" y="90"/>
                    <a:pt x="208" y="90"/>
                  </a:cubicBezTo>
                  <a:cubicBezTo>
                    <a:pt x="208" y="92"/>
                    <a:pt x="208" y="93"/>
                    <a:pt x="207" y="94"/>
                  </a:cubicBezTo>
                  <a:cubicBezTo>
                    <a:pt x="207" y="94"/>
                    <a:pt x="208" y="94"/>
                    <a:pt x="208" y="94"/>
                  </a:cubicBezTo>
                  <a:cubicBezTo>
                    <a:pt x="209" y="94"/>
                    <a:pt x="208" y="95"/>
                    <a:pt x="209" y="95"/>
                  </a:cubicBezTo>
                  <a:cubicBezTo>
                    <a:pt x="209" y="98"/>
                    <a:pt x="210" y="100"/>
                    <a:pt x="210" y="102"/>
                  </a:cubicBezTo>
                  <a:cubicBezTo>
                    <a:pt x="210" y="103"/>
                    <a:pt x="209" y="103"/>
                    <a:pt x="209" y="104"/>
                  </a:cubicBezTo>
                  <a:cubicBezTo>
                    <a:pt x="208" y="104"/>
                    <a:pt x="208" y="103"/>
                    <a:pt x="208" y="103"/>
                  </a:cubicBezTo>
                  <a:cubicBezTo>
                    <a:pt x="208" y="104"/>
                    <a:pt x="209" y="107"/>
                    <a:pt x="209" y="106"/>
                  </a:cubicBezTo>
                  <a:cubicBezTo>
                    <a:pt x="210" y="106"/>
                    <a:pt x="210" y="107"/>
                    <a:pt x="210" y="107"/>
                  </a:cubicBezTo>
                  <a:cubicBezTo>
                    <a:pt x="209" y="107"/>
                    <a:pt x="209" y="112"/>
                    <a:pt x="209" y="114"/>
                  </a:cubicBezTo>
                  <a:cubicBezTo>
                    <a:pt x="208" y="113"/>
                    <a:pt x="209" y="114"/>
                    <a:pt x="208" y="114"/>
                  </a:cubicBezTo>
                  <a:cubicBezTo>
                    <a:pt x="208" y="114"/>
                    <a:pt x="208" y="114"/>
                    <a:pt x="208" y="114"/>
                  </a:cubicBezTo>
                  <a:cubicBezTo>
                    <a:pt x="208" y="114"/>
                    <a:pt x="208" y="114"/>
                    <a:pt x="208" y="114"/>
                  </a:cubicBezTo>
                  <a:cubicBezTo>
                    <a:pt x="208" y="115"/>
                    <a:pt x="208" y="115"/>
                    <a:pt x="208" y="116"/>
                  </a:cubicBezTo>
                  <a:cubicBezTo>
                    <a:pt x="208" y="115"/>
                    <a:pt x="209" y="115"/>
                    <a:pt x="209" y="115"/>
                  </a:cubicBezTo>
                  <a:cubicBezTo>
                    <a:pt x="209" y="118"/>
                    <a:pt x="209" y="126"/>
                    <a:pt x="209" y="128"/>
                  </a:cubicBezTo>
                  <a:cubicBezTo>
                    <a:pt x="208" y="127"/>
                    <a:pt x="208" y="128"/>
                    <a:pt x="208" y="128"/>
                  </a:cubicBezTo>
                  <a:cubicBezTo>
                    <a:pt x="209" y="128"/>
                    <a:pt x="208" y="128"/>
                    <a:pt x="208" y="129"/>
                  </a:cubicBezTo>
                  <a:cubicBezTo>
                    <a:pt x="209" y="128"/>
                    <a:pt x="208" y="134"/>
                    <a:pt x="210" y="133"/>
                  </a:cubicBezTo>
                  <a:cubicBezTo>
                    <a:pt x="210" y="134"/>
                    <a:pt x="210" y="134"/>
                    <a:pt x="210" y="134"/>
                  </a:cubicBezTo>
                  <a:cubicBezTo>
                    <a:pt x="211" y="134"/>
                    <a:pt x="210" y="135"/>
                    <a:pt x="209" y="134"/>
                  </a:cubicBezTo>
                  <a:cubicBezTo>
                    <a:pt x="210" y="137"/>
                    <a:pt x="210" y="145"/>
                    <a:pt x="207" y="146"/>
                  </a:cubicBezTo>
                  <a:cubicBezTo>
                    <a:pt x="206" y="146"/>
                    <a:pt x="207" y="147"/>
                    <a:pt x="207" y="147"/>
                  </a:cubicBezTo>
                  <a:cubicBezTo>
                    <a:pt x="207" y="148"/>
                    <a:pt x="207" y="146"/>
                    <a:pt x="206" y="146"/>
                  </a:cubicBezTo>
                  <a:cubicBezTo>
                    <a:pt x="205" y="148"/>
                    <a:pt x="203" y="148"/>
                    <a:pt x="202" y="149"/>
                  </a:cubicBezTo>
                  <a:cubicBezTo>
                    <a:pt x="201" y="149"/>
                    <a:pt x="201" y="148"/>
                    <a:pt x="201" y="148"/>
                  </a:cubicBezTo>
                  <a:cubicBezTo>
                    <a:pt x="200" y="149"/>
                    <a:pt x="200" y="149"/>
                    <a:pt x="198" y="149"/>
                  </a:cubicBezTo>
                  <a:cubicBezTo>
                    <a:pt x="199" y="150"/>
                    <a:pt x="197" y="150"/>
                    <a:pt x="196" y="150"/>
                  </a:cubicBezTo>
                  <a:cubicBezTo>
                    <a:pt x="196" y="150"/>
                    <a:pt x="196" y="151"/>
                    <a:pt x="196" y="151"/>
                  </a:cubicBezTo>
                  <a:cubicBezTo>
                    <a:pt x="191" y="151"/>
                    <a:pt x="182" y="154"/>
                    <a:pt x="179" y="150"/>
                  </a:cubicBezTo>
                  <a:cubicBezTo>
                    <a:pt x="178" y="151"/>
                    <a:pt x="177" y="152"/>
                    <a:pt x="176" y="151"/>
                  </a:cubicBezTo>
                  <a:cubicBezTo>
                    <a:pt x="176" y="151"/>
                    <a:pt x="176" y="151"/>
                    <a:pt x="176" y="151"/>
                  </a:cubicBezTo>
                  <a:cubicBezTo>
                    <a:pt x="176" y="152"/>
                    <a:pt x="174" y="150"/>
                    <a:pt x="173" y="152"/>
                  </a:cubicBezTo>
                  <a:cubicBezTo>
                    <a:pt x="173" y="151"/>
                    <a:pt x="173" y="151"/>
                    <a:pt x="173" y="151"/>
                  </a:cubicBezTo>
                  <a:cubicBezTo>
                    <a:pt x="173" y="151"/>
                    <a:pt x="172" y="151"/>
                    <a:pt x="172" y="151"/>
                  </a:cubicBezTo>
                  <a:cubicBezTo>
                    <a:pt x="173" y="152"/>
                    <a:pt x="170" y="153"/>
                    <a:pt x="169" y="152"/>
                  </a:cubicBezTo>
                  <a:cubicBezTo>
                    <a:pt x="170" y="153"/>
                    <a:pt x="168" y="153"/>
                    <a:pt x="167" y="153"/>
                  </a:cubicBezTo>
                  <a:cubicBezTo>
                    <a:pt x="167" y="152"/>
                    <a:pt x="166" y="152"/>
                    <a:pt x="166" y="151"/>
                  </a:cubicBezTo>
                  <a:cubicBezTo>
                    <a:pt x="165" y="152"/>
                    <a:pt x="166" y="153"/>
                    <a:pt x="165" y="152"/>
                  </a:cubicBezTo>
                  <a:cubicBezTo>
                    <a:pt x="162" y="155"/>
                    <a:pt x="150" y="151"/>
                    <a:pt x="146" y="155"/>
                  </a:cubicBezTo>
                  <a:cubicBezTo>
                    <a:pt x="147" y="156"/>
                    <a:pt x="147" y="156"/>
                    <a:pt x="146" y="156"/>
                  </a:cubicBezTo>
                  <a:cubicBezTo>
                    <a:pt x="146" y="157"/>
                    <a:pt x="147" y="157"/>
                    <a:pt x="146" y="158"/>
                  </a:cubicBezTo>
                  <a:cubicBezTo>
                    <a:pt x="147" y="158"/>
                    <a:pt x="147" y="158"/>
                    <a:pt x="147" y="160"/>
                  </a:cubicBezTo>
                  <a:cubicBezTo>
                    <a:pt x="147" y="160"/>
                    <a:pt x="147" y="159"/>
                    <a:pt x="146" y="159"/>
                  </a:cubicBezTo>
                  <a:cubicBezTo>
                    <a:pt x="146" y="160"/>
                    <a:pt x="149" y="162"/>
                    <a:pt x="147" y="161"/>
                  </a:cubicBezTo>
                  <a:cubicBezTo>
                    <a:pt x="150" y="163"/>
                    <a:pt x="151" y="168"/>
                    <a:pt x="152" y="170"/>
                  </a:cubicBezTo>
                  <a:cubicBezTo>
                    <a:pt x="152" y="171"/>
                    <a:pt x="152" y="170"/>
                    <a:pt x="151" y="171"/>
                  </a:cubicBezTo>
                  <a:cubicBezTo>
                    <a:pt x="151" y="171"/>
                    <a:pt x="153" y="173"/>
                    <a:pt x="151" y="173"/>
                  </a:cubicBezTo>
                  <a:cubicBezTo>
                    <a:pt x="152" y="173"/>
                    <a:pt x="152" y="173"/>
                    <a:pt x="152" y="173"/>
                  </a:cubicBezTo>
                  <a:cubicBezTo>
                    <a:pt x="152" y="173"/>
                    <a:pt x="152" y="173"/>
                    <a:pt x="152" y="173"/>
                  </a:cubicBezTo>
                  <a:cubicBezTo>
                    <a:pt x="153" y="173"/>
                    <a:pt x="153" y="173"/>
                    <a:pt x="153" y="174"/>
                  </a:cubicBezTo>
                  <a:cubicBezTo>
                    <a:pt x="153" y="174"/>
                    <a:pt x="153" y="173"/>
                    <a:pt x="154" y="173"/>
                  </a:cubicBezTo>
                  <a:cubicBezTo>
                    <a:pt x="156" y="175"/>
                    <a:pt x="155" y="177"/>
                    <a:pt x="156" y="180"/>
                  </a:cubicBezTo>
                  <a:cubicBezTo>
                    <a:pt x="156" y="180"/>
                    <a:pt x="156" y="180"/>
                    <a:pt x="155" y="180"/>
                  </a:cubicBezTo>
                  <a:cubicBezTo>
                    <a:pt x="157" y="181"/>
                    <a:pt x="159" y="183"/>
                    <a:pt x="158" y="185"/>
                  </a:cubicBezTo>
                  <a:cubicBezTo>
                    <a:pt x="159" y="185"/>
                    <a:pt x="159" y="188"/>
                    <a:pt x="160" y="188"/>
                  </a:cubicBezTo>
                  <a:cubicBezTo>
                    <a:pt x="159" y="189"/>
                    <a:pt x="159" y="189"/>
                    <a:pt x="158" y="189"/>
                  </a:cubicBezTo>
                  <a:cubicBezTo>
                    <a:pt x="158" y="189"/>
                    <a:pt x="158" y="189"/>
                    <a:pt x="158" y="189"/>
                  </a:cubicBezTo>
                  <a:cubicBezTo>
                    <a:pt x="153" y="190"/>
                    <a:pt x="151" y="185"/>
                    <a:pt x="148" y="184"/>
                  </a:cubicBezTo>
                  <a:cubicBezTo>
                    <a:pt x="148" y="184"/>
                    <a:pt x="148" y="183"/>
                    <a:pt x="147" y="182"/>
                  </a:cubicBezTo>
                  <a:cubicBezTo>
                    <a:pt x="147" y="183"/>
                    <a:pt x="147" y="183"/>
                    <a:pt x="148" y="183"/>
                  </a:cubicBezTo>
                  <a:cubicBezTo>
                    <a:pt x="148" y="183"/>
                    <a:pt x="147" y="182"/>
                    <a:pt x="147" y="182"/>
                  </a:cubicBezTo>
                  <a:cubicBezTo>
                    <a:pt x="143" y="182"/>
                    <a:pt x="141" y="178"/>
                    <a:pt x="138" y="177"/>
                  </a:cubicBezTo>
                  <a:cubicBezTo>
                    <a:pt x="138" y="177"/>
                    <a:pt x="139" y="176"/>
                    <a:pt x="137" y="177"/>
                  </a:cubicBezTo>
                  <a:cubicBezTo>
                    <a:pt x="138" y="176"/>
                    <a:pt x="137" y="174"/>
                    <a:pt x="136" y="174"/>
                  </a:cubicBezTo>
                  <a:cubicBezTo>
                    <a:pt x="136" y="173"/>
                    <a:pt x="135" y="174"/>
                    <a:pt x="136" y="173"/>
                  </a:cubicBezTo>
                  <a:cubicBezTo>
                    <a:pt x="135" y="173"/>
                    <a:pt x="134" y="171"/>
                    <a:pt x="133" y="171"/>
                  </a:cubicBezTo>
                  <a:cubicBezTo>
                    <a:pt x="132" y="172"/>
                    <a:pt x="131" y="171"/>
                    <a:pt x="130" y="172"/>
                  </a:cubicBezTo>
                  <a:cubicBezTo>
                    <a:pt x="127" y="170"/>
                    <a:pt x="123" y="167"/>
                    <a:pt x="121" y="165"/>
                  </a:cubicBezTo>
                  <a:cubicBezTo>
                    <a:pt x="120" y="165"/>
                    <a:pt x="121" y="165"/>
                    <a:pt x="121" y="165"/>
                  </a:cubicBezTo>
                  <a:cubicBezTo>
                    <a:pt x="119" y="163"/>
                    <a:pt x="115" y="160"/>
                    <a:pt x="112" y="157"/>
                  </a:cubicBezTo>
                  <a:cubicBezTo>
                    <a:pt x="109" y="158"/>
                    <a:pt x="106" y="156"/>
                    <a:pt x="104" y="154"/>
                  </a:cubicBezTo>
                  <a:cubicBezTo>
                    <a:pt x="102" y="155"/>
                    <a:pt x="99" y="155"/>
                    <a:pt x="98" y="153"/>
                  </a:cubicBezTo>
                  <a:cubicBezTo>
                    <a:pt x="96" y="153"/>
                    <a:pt x="96" y="154"/>
                    <a:pt x="95" y="154"/>
                  </a:cubicBezTo>
                  <a:cubicBezTo>
                    <a:pt x="95" y="154"/>
                    <a:pt x="95" y="154"/>
                    <a:pt x="96" y="154"/>
                  </a:cubicBezTo>
                  <a:cubicBezTo>
                    <a:pt x="96" y="154"/>
                    <a:pt x="95" y="154"/>
                    <a:pt x="95" y="154"/>
                  </a:cubicBezTo>
                  <a:cubicBezTo>
                    <a:pt x="91" y="157"/>
                    <a:pt x="88" y="155"/>
                    <a:pt x="84" y="156"/>
                  </a:cubicBezTo>
                  <a:cubicBezTo>
                    <a:pt x="84" y="155"/>
                    <a:pt x="82" y="153"/>
                    <a:pt x="81" y="152"/>
                  </a:cubicBezTo>
                  <a:cubicBezTo>
                    <a:pt x="80" y="152"/>
                    <a:pt x="80" y="153"/>
                    <a:pt x="79" y="153"/>
                  </a:cubicBezTo>
                  <a:cubicBezTo>
                    <a:pt x="79" y="154"/>
                    <a:pt x="77" y="155"/>
                    <a:pt x="76" y="155"/>
                  </a:cubicBezTo>
                  <a:cubicBezTo>
                    <a:pt x="76" y="156"/>
                    <a:pt x="74" y="155"/>
                    <a:pt x="73" y="156"/>
                  </a:cubicBezTo>
                  <a:cubicBezTo>
                    <a:pt x="73" y="154"/>
                    <a:pt x="71" y="155"/>
                    <a:pt x="71" y="153"/>
                  </a:cubicBezTo>
                  <a:cubicBezTo>
                    <a:pt x="70" y="153"/>
                    <a:pt x="71" y="154"/>
                    <a:pt x="70" y="154"/>
                  </a:cubicBezTo>
                  <a:cubicBezTo>
                    <a:pt x="70" y="154"/>
                    <a:pt x="70" y="153"/>
                    <a:pt x="70" y="154"/>
                  </a:cubicBezTo>
                  <a:cubicBezTo>
                    <a:pt x="69" y="153"/>
                    <a:pt x="70" y="153"/>
                    <a:pt x="69" y="152"/>
                  </a:cubicBezTo>
                  <a:cubicBezTo>
                    <a:pt x="64" y="155"/>
                    <a:pt x="60" y="153"/>
                    <a:pt x="54" y="152"/>
                  </a:cubicBezTo>
                  <a:cubicBezTo>
                    <a:pt x="55" y="153"/>
                    <a:pt x="53" y="151"/>
                    <a:pt x="53" y="153"/>
                  </a:cubicBezTo>
                  <a:cubicBezTo>
                    <a:pt x="49" y="151"/>
                    <a:pt x="48" y="154"/>
                    <a:pt x="43" y="153"/>
                  </a:cubicBezTo>
                  <a:cubicBezTo>
                    <a:pt x="41" y="153"/>
                    <a:pt x="38" y="152"/>
                    <a:pt x="36" y="153"/>
                  </a:cubicBezTo>
                  <a:cubicBezTo>
                    <a:pt x="35" y="151"/>
                    <a:pt x="32" y="153"/>
                    <a:pt x="30" y="153"/>
                  </a:cubicBezTo>
                  <a:cubicBezTo>
                    <a:pt x="30" y="153"/>
                    <a:pt x="30" y="153"/>
                    <a:pt x="30" y="152"/>
                  </a:cubicBezTo>
                  <a:cubicBezTo>
                    <a:pt x="25" y="151"/>
                    <a:pt x="18" y="156"/>
                    <a:pt x="13" y="150"/>
                  </a:cubicBezTo>
                  <a:cubicBezTo>
                    <a:pt x="12" y="150"/>
                    <a:pt x="12" y="151"/>
                    <a:pt x="11" y="151"/>
                  </a:cubicBezTo>
                  <a:cubicBezTo>
                    <a:pt x="10" y="151"/>
                    <a:pt x="9" y="150"/>
                    <a:pt x="9" y="150"/>
                  </a:cubicBezTo>
                  <a:cubicBezTo>
                    <a:pt x="8" y="149"/>
                    <a:pt x="6" y="147"/>
                    <a:pt x="6" y="145"/>
                  </a:cubicBezTo>
                  <a:cubicBezTo>
                    <a:pt x="7" y="143"/>
                    <a:pt x="6" y="141"/>
                    <a:pt x="4" y="141"/>
                  </a:cubicBezTo>
                  <a:cubicBezTo>
                    <a:pt x="5" y="141"/>
                    <a:pt x="3" y="139"/>
                    <a:pt x="4" y="139"/>
                  </a:cubicBezTo>
                  <a:cubicBezTo>
                    <a:pt x="3" y="139"/>
                    <a:pt x="3" y="136"/>
                    <a:pt x="2" y="137"/>
                  </a:cubicBezTo>
                  <a:cubicBezTo>
                    <a:pt x="3" y="133"/>
                    <a:pt x="3" y="131"/>
                    <a:pt x="3" y="126"/>
                  </a:cubicBezTo>
                  <a:cubicBezTo>
                    <a:pt x="3" y="126"/>
                    <a:pt x="2" y="126"/>
                    <a:pt x="2" y="126"/>
                  </a:cubicBezTo>
                  <a:cubicBezTo>
                    <a:pt x="2" y="125"/>
                    <a:pt x="1" y="125"/>
                    <a:pt x="2" y="124"/>
                  </a:cubicBezTo>
                  <a:cubicBezTo>
                    <a:pt x="3" y="122"/>
                    <a:pt x="0" y="119"/>
                    <a:pt x="2" y="116"/>
                  </a:cubicBezTo>
                  <a:cubicBezTo>
                    <a:pt x="1" y="117"/>
                    <a:pt x="2" y="116"/>
                    <a:pt x="1" y="116"/>
                  </a:cubicBezTo>
                  <a:cubicBezTo>
                    <a:pt x="1" y="115"/>
                    <a:pt x="2" y="116"/>
                    <a:pt x="2" y="116"/>
                  </a:cubicBezTo>
                  <a:cubicBezTo>
                    <a:pt x="2" y="116"/>
                    <a:pt x="3" y="114"/>
                    <a:pt x="2" y="114"/>
                  </a:cubicBezTo>
                  <a:cubicBezTo>
                    <a:pt x="2" y="113"/>
                    <a:pt x="3" y="114"/>
                    <a:pt x="3" y="114"/>
                  </a:cubicBezTo>
                  <a:cubicBezTo>
                    <a:pt x="3" y="114"/>
                    <a:pt x="3" y="113"/>
                    <a:pt x="3" y="112"/>
                  </a:cubicBezTo>
                  <a:cubicBezTo>
                    <a:pt x="4" y="113"/>
                    <a:pt x="3" y="112"/>
                    <a:pt x="4" y="112"/>
                  </a:cubicBezTo>
                  <a:cubicBezTo>
                    <a:pt x="3" y="110"/>
                    <a:pt x="3" y="109"/>
                    <a:pt x="2" y="108"/>
                  </a:cubicBezTo>
                  <a:cubicBezTo>
                    <a:pt x="2" y="108"/>
                    <a:pt x="2" y="108"/>
                    <a:pt x="1" y="108"/>
                  </a:cubicBezTo>
                  <a:cubicBezTo>
                    <a:pt x="2" y="107"/>
                    <a:pt x="1" y="107"/>
                    <a:pt x="1" y="106"/>
                  </a:cubicBezTo>
                  <a:cubicBezTo>
                    <a:pt x="1" y="106"/>
                    <a:pt x="1" y="106"/>
                    <a:pt x="2" y="106"/>
                  </a:cubicBezTo>
                  <a:cubicBezTo>
                    <a:pt x="1" y="106"/>
                    <a:pt x="1" y="106"/>
                    <a:pt x="1" y="106"/>
                  </a:cubicBezTo>
                  <a:cubicBezTo>
                    <a:pt x="1" y="105"/>
                    <a:pt x="2" y="105"/>
                    <a:pt x="2" y="105"/>
                  </a:cubicBezTo>
                  <a:cubicBezTo>
                    <a:pt x="2" y="104"/>
                    <a:pt x="2" y="104"/>
                    <a:pt x="1" y="104"/>
                  </a:cubicBezTo>
                  <a:cubicBezTo>
                    <a:pt x="1" y="102"/>
                    <a:pt x="3" y="101"/>
                    <a:pt x="1" y="101"/>
                  </a:cubicBezTo>
                  <a:cubicBezTo>
                    <a:pt x="1" y="100"/>
                    <a:pt x="2" y="100"/>
                    <a:pt x="2" y="99"/>
                  </a:cubicBezTo>
                  <a:cubicBezTo>
                    <a:pt x="1" y="100"/>
                    <a:pt x="1" y="100"/>
                    <a:pt x="1" y="100"/>
                  </a:cubicBezTo>
                  <a:cubicBezTo>
                    <a:pt x="1" y="100"/>
                    <a:pt x="1" y="100"/>
                    <a:pt x="1" y="99"/>
                  </a:cubicBezTo>
                  <a:cubicBezTo>
                    <a:pt x="2" y="99"/>
                    <a:pt x="2" y="99"/>
                    <a:pt x="1" y="98"/>
                  </a:cubicBezTo>
                  <a:cubicBezTo>
                    <a:pt x="3" y="99"/>
                    <a:pt x="1" y="97"/>
                    <a:pt x="2" y="97"/>
                  </a:cubicBezTo>
                  <a:cubicBezTo>
                    <a:pt x="2" y="97"/>
                    <a:pt x="2" y="97"/>
                    <a:pt x="2" y="97"/>
                  </a:cubicBezTo>
                  <a:cubicBezTo>
                    <a:pt x="3" y="96"/>
                    <a:pt x="1" y="96"/>
                    <a:pt x="3" y="96"/>
                  </a:cubicBezTo>
                  <a:cubicBezTo>
                    <a:pt x="2" y="95"/>
                    <a:pt x="3" y="94"/>
                    <a:pt x="2" y="94"/>
                  </a:cubicBezTo>
                  <a:cubicBezTo>
                    <a:pt x="3" y="94"/>
                    <a:pt x="2" y="93"/>
                    <a:pt x="3" y="93"/>
                  </a:cubicBezTo>
                  <a:cubicBezTo>
                    <a:pt x="3" y="93"/>
                    <a:pt x="3" y="91"/>
                    <a:pt x="3" y="92"/>
                  </a:cubicBezTo>
                  <a:cubicBezTo>
                    <a:pt x="4" y="92"/>
                    <a:pt x="2" y="91"/>
                    <a:pt x="3" y="91"/>
                  </a:cubicBezTo>
                  <a:cubicBezTo>
                    <a:pt x="0" y="89"/>
                    <a:pt x="1" y="86"/>
                    <a:pt x="2" y="83"/>
                  </a:cubicBezTo>
                  <a:cubicBezTo>
                    <a:pt x="1" y="84"/>
                    <a:pt x="2" y="82"/>
                    <a:pt x="3" y="82"/>
                  </a:cubicBezTo>
                  <a:cubicBezTo>
                    <a:pt x="2" y="82"/>
                    <a:pt x="2" y="82"/>
                    <a:pt x="2" y="82"/>
                  </a:cubicBezTo>
                  <a:cubicBezTo>
                    <a:pt x="3" y="82"/>
                    <a:pt x="5" y="78"/>
                    <a:pt x="2" y="78"/>
                  </a:cubicBezTo>
                  <a:cubicBezTo>
                    <a:pt x="2" y="76"/>
                    <a:pt x="3" y="78"/>
                    <a:pt x="2" y="76"/>
                  </a:cubicBezTo>
                  <a:cubicBezTo>
                    <a:pt x="2" y="77"/>
                    <a:pt x="3" y="76"/>
                    <a:pt x="3" y="75"/>
                  </a:cubicBezTo>
                  <a:cubicBezTo>
                    <a:pt x="3" y="76"/>
                    <a:pt x="3" y="77"/>
                    <a:pt x="4" y="77"/>
                  </a:cubicBezTo>
                  <a:cubicBezTo>
                    <a:pt x="3" y="76"/>
                    <a:pt x="4" y="76"/>
                    <a:pt x="3" y="75"/>
                  </a:cubicBezTo>
                  <a:cubicBezTo>
                    <a:pt x="3" y="75"/>
                    <a:pt x="4" y="74"/>
                    <a:pt x="3" y="74"/>
                  </a:cubicBezTo>
                  <a:cubicBezTo>
                    <a:pt x="4" y="75"/>
                    <a:pt x="4" y="73"/>
                    <a:pt x="4" y="74"/>
                  </a:cubicBezTo>
                  <a:cubicBezTo>
                    <a:pt x="4" y="72"/>
                    <a:pt x="3" y="72"/>
                    <a:pt x="3" y="71"/>
                  </a:cubicBezTo>
                  <a:cubicBezTo>
                    <a:pt x="4" y="72"/>
                    <a:pt x="2" y="69"/>
                    <a:pt x="4" y="68"/>
                  </a:cubicBezTo>
                  <a:cubicBezTo>
                    <a:pt x="4" y="69"/>
                    <a:pt x="4" y="69"/>
                    <a:pt x="4" y="69"/>
                  </a:cubicBezTo>
                  <a:cubicBezTo>
                    <a:pt x="4" y="69"/>
                    <a:pt x="4" y="69"/>
                    <a:pt x="4" y="69"/>
                  </a:cubicBezTo>
                  <a:cubicBezTo>
                    <a:pt x="5" y="69"/>
                    <a:pt x="5" y="69"/>
                    <a:pt x="4" y="70"/>
                  </a:cubicBezTo>
                  <a:cubicBezTo>
                    <a:pt x="5" y="70"/>
                    <a:pt x="5" y="69"/>
                    <a:pt x="5" y="69"/>
                  </a:cubicBezTo>
                  <a:cubicBezTo>
                    <a:pt x="4" y="69"/>
                    <a:pt x="4" y="68"/>
                    <a:pt x="4" y="67"/>
                  </a:cubicBezTo>
                  <a:cubicBezTo>
                    <a:pt x="3" y="68"/>
                    <a:pt x="3" y="67"/>
                    <a:pt x="2" y="67"/>
                  </a:cubicBezTo>
                  <a:cubicBezTo>
                    <a:pt x="2" y="65"/>
                    <a:pt x="2" y="62"/>
                    <a:pt x="2" y="61"/>
                  </a:cubicBezTo>
                  <a:cubicBezTo>
                    <a:pt x="2" y="60"/>
                    <a:pt x="4" y="61"/>
                    <a:pt x="3" y="62"/>
                  </a:cubicBezTo>
                  <a:cubicBezTo>
                    <a:pt x="5" y="59"/>
                    <a:pt x="3" y="56"/>
                    <a:pt x="4" y="54"/>
                  </a:cubicBezTo>
                  <a:cubicBezTo>
                    <a:pt x="5" y="54"/>
                    <a:pt x="6" y="50"/>
                    <a:pt x="4" y="50"/>
                  </a:cubicBezTo>
                  <a:cubicBezTo>
                    <a:pt x="2" y="43"/>
                    <a:pt x="4" y="39"/>
                    <a:pt x="3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3"/>
                    <a:pt x="3" y="33"/>
                    <a:pt x="4" y="32"/>
                  </a:cubicBezTo>
                  <a:cubicBezTo>
                    <a:pt x="4" y="32"/>
                    <a:pt x="4" y="32"/>
                    <a:pt x="3" y="32"/>
                  </a:cubicBezTo>
                  <a:cubicBezTo>
                    <a:pt x="4" y="31"/>
                    <a:pt x="4" y="32"/>
                    <a:pt x="5" y="32"/>
                  </a:cubicBezTo>
                  <a:cubicBezTo>
                    <a:pt x="4" y="32"/>
                    <a:pt x="4" y="31"/>
                    <a:pt x="4" y="31"/>
                  </a:cubicBezTo>
                  <a:cubicBezTo>
                    <a:pt x="4" y="31"/>
                    <a:pt x="5" y="31"/>
                    <a:pt x="5" y="31"/>
                  </a:cubicBezTo>
                  <a:cubicBezTo>
                    <a:pt x="5" y="31"/>
                    <a:pt x="4" y="30"/>
                    <a:pt x="5" y="30"/>
                  </a:cubicBezTo>
                  <a:cubicBezTo>
                    <a:pt x="4" y="31"/>
                    <a:pt x="5" y="30"/>
                    <a:pt x="5" y="28"/>
                  </a:cubicBezTo>
                  <a:cubicBezTo>
                    <a:pt x="5" y="28"/>
                    <a:pt x="4" y="27"/>
                    <a:pt x="3" y="27"/>
                  </a:cubicBezTo>
                  <a:cubicBezTo>
                    <a:pt x="3" y="26"/>
                    <a:pt x="3" y="24"/>
                    <a:pt x="3" y="24"/>
                  </a:cubicBezTo>
                  <a:cubicBezTo>
                    <a:pt x="3" y="23"/>
                    <a:pt x="3" y="24"/>
                    <a:pt x="4" y="24"/>
                  </a:cubicBezTo>
                  <a:cubicBezTo>
                    <a:pt x="3" y="22"/>
                    <a:pt x="5" y="20"/>
                    <a:pt x="3" y="20"/>
                  </a:cubicBezTo>
                  <a:cubicBezTo>
                    <a:pt x="3" y="19"/>
                    <a:pt x="4" y="20"/>
                    <a:pt x="5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5" y="18"/>
                    <a:pt x="7" y="18"/>
                    <a:pt x="6" y="16"/>
                  </a:cubicBezTo>
                  <a:cubicBezTo>
                    <a:pt x="6" y="16"/>
                    <a:pt x="7" y="17"/>
                    <a:pt x="6" y="17"/>
                  </a:cubicBezTo>
                  <a:cubicBezTo>
                    <a:pt x="6" y="15"/>
                    <a:pt x="6" y="16"/>
                    <a:pt x="6" y="14"/>
                  </a:cubicBezTo>
                  <a:cubicBezTo>
                    <a:pt x="6" y="15"/>
                    <a:pt x="6" y="15"/>
                    <a:pt x="7" y="15"/>
                  </a:cubicBezTo>
                  <a:cubicBezTo>
                    <a:pt x="6" y="13"/>
                    <a:pt x="9" y="13"/>
                    <a:pt x="7" y="10"/>
                  </a:cubicBezTo>
                  <a:cubicBezTo>
                    <a:pt x="8" y="10"/>
                    <a:pt x="8" y="9"/>
                    <a:pt x="9" y="8"/>
                  </a:cubicBezTo>
                  <a:cubicBezTo>
                    <a:pt x="10" y="9"/>
                    <a:pt x="9" y="9"/>
                    <a:pt x="9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8"/>
                    <a:pt x="10" y="8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2" y="7"/>
                    <a:pt x="12" y="7"/>
                    <a:pt x="12" y="6"/>
                  </a:cubicBezTo>
                  <a:cubicBezTo>
                    <a:pt x="13" y="6"/>
                    <a:pt x="14" y="5"/>
                    <a:pt x="15" y="6"/>
                  </a:cubicBezTo>
                  <a:cubicBezTo>
                    <a:pt x="15" y="5"/>
                    <a:pt x="14" y="5"/>
                    <a:pt x="14" y="5"/>
                  </a:cubicBezTo>
                  <a:cubicBezTo>
                    <a:pt x="15" y="4"/>
                    <a:pt x="17" y="5"/>
                    <a:pt x="17" y="6"/>
                  </a:cubicBezTo>
                  <a:cubicBezTo>
                    <a:pt x="18" y="5"/>
                    <a:pt x="18" y="6"/>
                    <a:pt x="18" y="5"/>
                  </a:cubicBezTo>
                  <a:cubicBezTo>
                    <a:pt x="19" y="5"/>
                    <a:pt x="19" y="6"/>
                    <a:pt x="19" y="4"/>
                  </a:cubicBezTo>
                  <a:cubicBezTo>
                    <a:pt x="20" y="4"/>
                    <a:pt x="21" y="5"/>
                    <a:pt x="21" y="4"/>
                  </a:cubicBezTo>
                  <a:cubicBezTo>
                    <a:pt x="22" y="4"/>
                    <a:pt x="21" y="5"/>
                    <a:pt x="22" y="5"/>
                  </a:cubicBezTo>
                  <a:cubicBezTo>
                    <a:pt x="22" y="5"/>
                    <a:pt x="21" y="5"/>
                    <a:pt x="22" y="4"/>
                  </a:cubicBezTo>
                  <a:cubicBezTo>
                    <a:pt x="22" y="4"/>
                    <a:pt x="22" y="5"/>
                    <a:pt x="23" y="4"/>
                  </a:cubicBezTo>
                  <a:cubicBezTo>
                    <a:pt x="27" y="5"/>
                    <a:pt x="32" y="0"/>
                    <a:pt x="35" y="4"/>
                  </a:cubicBezTo>
                  <a:cubicBezTo>
                    <a:pt x="37" y="3"/>
                    <a:pt x="40" y="2"/>
                    <a:pt x="43" y="3"/>
                  </a:cubicBezTo>
                  <a:cubicBezTo>
                    <a:pt x="44" y="2"/>
                    <a:pt x="47" y="3"/>
                    <a:pt x="48" y="2"/>
                  </a:cubicBezTo>
                  <a:cubicBezTo>
                    <a:pt x="48" y="3"/>
                    <a:pt x="51" y="3"/>
                    <a:pt x="51" y="4"/>
                  </a:cubicBezTo>
                  <a:cubicBezTo>
                    <a:pt x="53" y="4"/>
                    <a:pt x="54" y="2"/>
                    <a:pt x="55" y="4"/>
                  </a:cubicBezTo>
                  <a:cubicBezTo>
                    <a:pt x="55" y="3"/>
                    <a:pt x="55" y="3"/>
                    <a:pt x="56" y="3"/>
                  </a:cubicBezTo>
                  <a:cubicBezTo>
                    <a:pt x="56" y="3"/>
                    <a:pt x="55" y="3"/>
                    <a:pt x="55" y="4"/>
                  </a:cubicBezTo>
                  <a:cubicBezTo>
                    <a:pt x="56" y="3"/>
                    <a:pt x="56" y="3"/>
                    <a:pt x="56" y="3"/>
                  </a:cubicBezTo>
                  <a:cubicBezTo>
                    <a:pt x="56" y="3"/>
                    <a:pt x="57" y="3"/>
                    <a:pt x="58" y="4"/>
                  </a:cubicBezTo>
                  <a:cubicBezTo>
                    <a:pt x="60" y="2"/>
                    <a:pt x="61" y="3"/>
                    <a:pt x="63" y="3"/>
                  </a:cubicBezTo>
                  <a:cubicBezTo>
                    <a:pt x="63" y="1"/>
                    <a:pt x="67" y="4"/>
                    <a:pt x="67" y="2"/>
                  </a:cubicBezTo>
                  <a:cubicBezTo>
                    <a:pt x="69" y="3"/>
                    <a:pt x="71" y="2"/>
                    <a:pt x="73" y="2"/>
                  </a:cubicBezTo>
                  <a:cubicBezTo>
                    <a:pt x="73" y="2"/>
                    <a:pt x="73" y="2"/>
                    <a:pt x="73" y="2"/>
                  </a:cubicBezTo>
                  <a:cubicBezTo>
                    <a:pt x="75" y="3"/>
                    <a:pt x="78" y="1"/>
                    <a:pt x="80" y="2"/>
                  </a:cubicBezTo>
                  <a:cubicBezTo>
                    <a:pt x="81" y="0"/>
                    <a:pt x="90" y="1"/>
                    <a:pt x="93" y="1"/>
                  </a:cubicBezTo>
                  <a:cubicBezTo>
                    <a:pt x="94" y="0"/>
                    <a:pt x="99" y="2"/>
                    <a:pt x="100" y="1"/>
                  </a:cubicBezTo>
                  <a:cubicBezTo>
                    <a:pt x="101" y="2"/>
                    <a:pt x="102" y="2"/>
                    <a:pt x="102" y="3"/>
                  </a:cubicBezTo>
                  <a:cubicBezTo>
                    <a:pt x="103" y="3"/>
                    <a:pt x="103" y="4"/>
                    <a:pt x="104" y="2"/>
                  </a:cubicBezTo>
                  <a:cubicBezTo>
                    <a:pt x="104" y="2"/>
                    <a:pt x="104" y="3"/>
                    <a:pt x="104" y="3"/>
                  </a:cubicBezTo>
                  <a:cubicBezTo>
                    <a:pt x="105" y="1"/>
                    <a:pt x="107" y="1"/>
                    <a:pt x="109" y="1"/>
                  </a:cubicBezTo>
                  <a:cubicBezTo>
                    <a:pt x="109" y="1"/>
                    <a:pt x="108" y="1"/>
                    <a:pt x="109" y="2"/>
                  </a:cubicBezTo>
                  <a:cubicBezTo>
                    <a:pt x="110" y="2"/>
                    <a:pt x="109" y="1"/>
                    <a:pt x="109" y="1"/>
                  </a:cubicBezTo>
                  <a:cubicBezTo>
                    <a:pt x="110" y="1"/>
                    <a:pt x="110" y="2"/>
                    <a:pt x="110" y="1"/>
                  </a:cubicBezTo>
                  <a:cubicBezTo>
                    <a:pt x="113" y="4"/>
                    <a:pt x="115" y="1"/>
                    <a:pt x="119" y="1"/>
                  </a:cubicBezTo>
                  <a:cubicBezTo>
                    <a:pt x="119" y="1"/>
                    <a:pt x="122" y="1"/>
                    <a:pt x="124" y="1"/>
                  </a:cubicBezTo>
                  <a:cubicBezTo>
                    <a:pt x="123" y="0"/>
                    <a:pt x="124" y="1"/>
                    <a:pt x="124" y="1"/>
                  </a:cubicBezTo>
                  <a:close/>
                  <a:moveTo>
                    <a:pt x="209" y="103"/>
                  </a:moveTo>
                  <a:cubicBezTo>
                    <a:pt x="208" y="104"/>
                    <a:pt x="210" y="102"/>
                    <a:pt x="209" y="103"/>
                  </a:cubicBezTo>
                  <a:close/>
                  <a:moveTo>
                    <a:pt x="202" y="148"/>
                  </a:moveTo>
                  <a:cubicBezTo>
                    <a:pt x="201" y="149"/>
                    <a:pt x="203" y="147"/>
                    <a:pt x="202" y="148"/>
                  </a:cubicBezTo>
                  <a:close/>
                  <a:moveTo>
                    <a:pt x="200" y="149"/>
                  </a:moveTo>
                  <a:cubicBezTo>
                    <a:pt x="199" y="150"/>
                    <a:pt x="201" y="148"/>
                    <a:pt x="200" y="149"/>
                  </a:cubicBezTo>
                  <a:close/>
                  <a:moveTo>
                    <a:pt x="1" y="101"/>
                  </a:moveTo>
                  <a:cubicBezTo>
                    <a:pt x="1" y="101"/>
                    <a:pt x="1" y="101"/>
                    <a:pt x="1" y="101"/>
                  </a:cubicBezTo>
                  <a:close/>
                  <a:moveTo>
                    <a:pt x="3" y="75"/>
                  </a:moveTo>
                  <a:cubicBezTo>
                    <a:pt x="3" y="75"/>
                    <a:pt x="3" y="75"/>
                    <a:pt x="3" y="75"/>
                  </a:cubicBezTo>
                  <a:close/>
                  <a:moveTo>
                    <a:pt x="9" y="10"/>
                  </a:moveTo>
                  <a:cubicBezTo>
                    <a:pt x="9" y="9"/>
                    <a:pt x="8" y="10"/>
                    <a:pt x="9" y="10"/>
                  </a:cubicBezTo>
                  <a:close/>
                  <a:moveTo>
                    <a:pt x="89" y="2"/>
                  </a:moveTo>
                  <a:cubicBezTo>
                    <a:pt x="89" y="2"/>
                    <a:pt x="89" y="2"/>
                    <a:pt x="89" y="2"/>
                  </a:cubicBezTo>
                  <a:close/>
                  <a:moveTo>
                    <a:pt x="106" y="2"/>
                  </a:moveTo>
                  <a:cubicBezTo>
                    <a:pt x="106" y="3"/>
                    <a:pt x="106" y="2"/>
                    <a:pt x="106" y="2"/>
                  </a:cubicBezTo>
                  <a:close/>
                  <a:moveTo>
                    <a:pt x="155" y="2"/>
                  </a:moveTo>
                  <a:cubicBezTo>
                    <a:pt x="156" y="3"/>
                    <a:pt x="155" y="2"/>
                    <a:pt x="155" y="2"/>
                  </a:cubicBezTo>
                  <a:close/>
                  <a:moveTo>
                    <a:pt x="182" y="2"/>
                  </a:moveTo>
                  <a:cubicBezTo>
                    <a:pt x="182" y="3"/>
                    <a:pt x="181" y="2"/>
                    <a:pt x="182" y="2"/>
                  </a:cubicBezTo>
                  <a:close/>
                  <a:moveTo>
                    <a:pt x="182" y="2"/>
                  </a:moveTo>
                  <a:cubicBezTo>
                    <a:pt x="182" y="3"/>
                    <a:pt x="182" y="2"/>
                    <a:pt x="182" y="2"/>
                  </a:cubicBezTo>
                  <a:close/>
                  <a:moveTo>
                    <a:pt x="45" y="3"/>
                  </a:moveTo>
                  <a:cubicBezTo>
                    <a:pt x="45" y="3"/>
                    <a:pt x="45" y="3"/>
                    <a:pt x="45" y="3"/>
                  </a:cubicBezTo>
                  <a:close/>
                  <a:moveTo>
                    <a:pt x="105" y="3"/>
                  </a:moveTo>
                  <a:cubicBezTo>
                    <a:pt x="106" y="3"/>
                    <a:pt x="105" y="3"/>
                    <a:pt x="105" y="3"/>
                  </a:cubicBezTo>
                  <a:close/>
                  <a:moveTo>
                    <a:pt x="67" y="3"/>
                  </a:moveTo>
                  <a:cubicBezTo>
                    <a:pt x="67" y="3"/>
                    <a:pt x="67" y="3"/>
                    <a:pt x="67" y="3"/>
                  </a:cubicBezTo>
                  <a:close/>
                  <a:moveTo>
                    <a:pt x="69" y="3"/>
                  </a:moveTo>
                  <a:cubicBezTo>
                    <a:pt x="69" y="3"/>
                    <a:pt x="69" y="3"/>
                    <a:pt x="69" y="3"/>
                  </a:cubicBezTo>
                  <a:close/>
                  <a:moveTo>
                    <a:pt x="174" y="3"/>
                  </a:moveTo>
                  <a:cubicBezTo>
                    <a:pt x="174" y="3"/>
                    <a:pt x="174" y="3"/>
                    <a:pt x="174" y="3"/>
                  </a:cubicBezTo>
                  <a:close/>
                  <a:moveTo>
                    <a:pt x="43" y="4"/>
                  </a:moveTo>
                  <a:cubicBezTo>
                    <a:pt x="44" y="4"/>
                    <a:pt x="43" y="3"/>
                    <a:pt x="43" y="4"/>
                  </a:cubicBezTo>
                  <a:close/>
                  <a:moveTo>
                    <a:pt x="44" y="4"/>
                  </a:moveTo>
                  <a:cubicBezTo>
                    <a:pt x="44" y="4"/>
                    <a:pt x="44" y="3"/>
                    <a:pt x="44" y="4"/>
                  </a:cubicBezTo>
                  <a:close/>
                  <a:moveTo>
                    <a:pt x="60" y="4"/>
                  </a:moveTo>
                  <a:cubicBezTo>
                    <a:pt x="60" y="4"/>
                    <a:pt x="60" y="3"/>
                    <a:pt x="60" y="4"/>
                  </a:cubicBezTo>
                  <a:close/>
                  <a:moveTo>
                    <a:pt x="104" y="4"/>
                  </a:moveTo>
                  <a:cubicBezTo>
                    <a:pt x="104" y="4"/>
                    <a:pt x="104" y="3"/>
                    <a:pt x="104" y="4"/>
                  </a:cubicBezTo>
                  <a:close/>
                  <a:moveTo>
                    <a:pt x="103" y="4"/>
                  </a:moveTo>
                  <a:cubicBezTo>
                    <a:pt x="103" y="4"/>
                    <a:pt x="103" y="4"/>
                    <a:pt x="103" y="4"/>
                  </a:cubicBezTo>
                  <a:close/>
                  <a:moveTo>
                    <a:pt x="27" y="4"/>
                  </a:moveTo>
                  <a:cubicBezTo>
                    <a:pt x="27" y="4"/>
                    <a:pt x="27" y="4"/>
                    <a:pt x="27" y="4"/>
                  </a:cubicBezTo>
                  <a:close/>
                  <a:moveTo>
                    <a:pt x="59" y="4"/>
                  </a:moveTo>
                  <a:cubicBezTo>
                    <a:pt x="59" y="4"/>
                    <a:pt x="59" y="4"/>
                    <a:pt x="59" y="4"/>
                  </a:cubicBezTo>
                  <a:close/>
                  <a:moveTo>
                    <a:pt x="104" y="4"/>
                  </a:moveTo>
                  <a:cubicBezTo>
                    <a:pt x="104" y="4"/>
                    <a:pt x="104" y="4"/>
                    <a:pt x="104" y="4"/>
                  </a:cubicBezTo>
                  <a:close/>
                  <a:moveTo>
                    <a:pt x="169" y="4"/>
                  </a:moveTo>
                  <a:cubicBezTo>
                    <a:pt x="170" y="4"/>
                    <a:pt x="169" y="4"/>
                    <a:pt x="169" y="4"/>
                  </a:cubicBezTo>
                  <a:close/>
                  <a:moveTo>
                    <a:pt x="26" y="4"/>
                  </a:moveTo>
                  <a:cubicBezTo>
                    <a:pt x="26" y="5"/>
                    <a:pt x="26" y="4"/>
                    <a:pt x="26" y="4"/>
                  </a:cubicBezTo>
                  <a:close/>
                  <a:moveTo>
                    <a:pt x="50" y="4"/>
                  </a:moveTo>
                  <a:cubicBezTo>
                    <a:pt x="51" y="5"/>
                    <a:pt x="50" y="4"/>
                    <a:pt x="50" y="4"/>
                  </a:cubicBezTo>
                  <a:close/>
                  <a:moveTo>
                    <a:pt x="190" y="5"/>
                  </a:moveTo>
                  <a:cubicBezTo>
                    <a:pt x="190" y="5"/>
                    <a:pt x="190" y="5"/>
                    <a:pt x="190" y="5"/>
                  </a:cubicBezTo>
                  <a:close/>
                  <a:moveTo>
                    <a:pt x="20" y="5"/>
                  </a:moveTo>
                  <a:cubicBezTo>
                    <a:pt x="20" y="5"/>
                    <a:pt x="20" y="5"/>
                    <a:pt x="20" y="5"/>
                  </a:cubicBezTo>
                  <a:close/>
                  <a:moveTo>
                    <a:pt x="19" y="6"/>
                  </a:moveTo>
                  <a:cubicBezTo>
                    <a:pt x="19" y="6"/>
                    <a:pt x="19" y="6"/>
                    <a:pt x="19" y="6"/>
                  </a:cubicBezTo>
                  <a:close/>
                  <a:moveTo>
                    <a:pt x="13" y="7"/>
                  </a:moveTo>
                  <a:cubicBezTo>
                    <a:pt x="13" y="7"/>
                    <a:pt x="12" y="6"/>
                    <a:pt x="13" y="7"/>
                  </a:cubicBezTo>
                  <a:close/>
                  <a:moveTo>
                    <a:pt x="11" y="8"/>
                  </a:moveTo>
                  <a:cubicBezTo>
                    <a:pt x="11" y="8"/>
                    <a:pt x="11" y="8"/>
                    <a:pt x="11" y="8"/>
                  </a:cubicBezTo>
                  <a:close/>
                  <a:moveTo>
                    <a:pt x="198" y="8"/>
                  </a:moveTo>
                  <a:cubicBezTo>
                    <a:pt x="199" y="8"/>
                    <a:pt x="198" y="8"/>
                    <a:pt x="198" y="8"/>
                  </a:cubicBezTo>
                  <a:close/>
                  <a:moveTo>
                    <a:pt x="10" y="9"/>
                  </a:moveTo>
                  <a:cubicBezTo>
                    <a:pt x="10" y="9"/>
                    <a:pt x="10" y="9"/>
                    <a:pt x="10" y="9"/>
                  </a:cubicBezTo>
                  <a:close/>
                  <a:moveTo>
                    <a:pt x="9" y="9"/>
                  </a:moveTo>
                  <a:cubicBezTo>
                    <a:pt x="9" y="10"/>
                    <a:pt x="9" y="9"/>
                    <a:pt x="9" y="9"/>
                  </a:cubicBezTo>
                  <a:close/>
                  <a:moveTo>
                    <a:pt x="202" y="9"/>
                  </a:moveTo>
                  <a:cubicBezTo>
                    <a:pt x="203" y="10"/>
                    <a:pt x="202" y="9"/>
                    <a:pt x="202" y="9"/>
                  </a:cubicBezTo>
                  <a:close/>
                  <a:moveTo>
                    <a:pt x="7" y="11"/>
                  </a:moveTo>
                  <a:cubicBezTo>
                    <a:pt x="8" y="11"/>
                    <a:pt x="7" y="10"/>
                    <a:pt x="7" y="11"/>
                  </a:cubicBezTo>
                  <a:close/>
                  <a:moveTo>
                    <a:pt x="8" y="11"/>
                  </a:moveTo>
                  <a:cubicBezTo>
                    <a:pt x="8" y="11"/>
                    <a:pt x="8" y="10"/>
                    <a:pt x="8" y="11"/>
                  </a:cubicBezTo>
                  <a:close/>
                  <a:moveTo>
                    <a:pt x="8" y="11"/>
                  </a:moveTo>
                  <a:cubicBezTo>
                    <a:pt x="8" y="11"/>
                    <a:pt x="8" y="11"/>
                    <a:pt x="8" y="11"/>
                  </a:cubicBezTo>
                  <a:close/>
                  <a:moveTo>
                    <a:pt x="6" y="16"/>
                  </a:moveTo>
                  <a:cubicBezTo>
                    <a:pt x="6" y="16"/>
                    <a:pt x="6" y="16"/>
                    <a:pt x="6" y="16"/>
                  </a:cubicBezTo>
                  <a:close/>
                  <a:moveTo>
                    <a:pt x="6" y="18"/>
                  </a:moveTo>
                  <a:cubicBezTo>
                    <a:pt x="7" y="18"/>
                    <a:pt x="6" y="18"/>
                    <a:pt x="6" y="18"/>
                  </a:cubicBezTo>
                  <a:close/>
                  <a:moveTo>
                    <a:pt x="6" y="18"/>
                  </a:moveTo>
                  <a:cubicBezTo>
                    <a:pt x="6" y="19"/>
                    <a:pt x="6" y="17"/>
                    <a:pt x="6" y="18"/>
                  </a:cubicBezTo>
                  <a:close/>
                  <a:moveTo>
                    <a:pt x="5" y="19"/>
                  </a:moveTo>
                  <a:cubicBezTo>
                    <a:pt x="5" y="19"/>
                    <a:pt x="5" y="19"/>
                    <a:pt x="5" y="19"/>
                  </a:cubicBezTo>
                  <a:close/>
                  <a:moveTo>
                    <a:pt x="5" y="20"/>
                  </a:moveTo>
                  <a:cubicBezTo>
                    <a:pt x="5" y="20"/>
                    <a:pt x="5" y="20"/>
                    <a:pt x="5" y="20"/>
                  </a:cubicBezTo>
                  <a:close/>
                  <a:moveTo>
                    <a:pt x="4" y="22"/>
                  </a:moveTo>
                  <a:cubicBezTo>
                    <a:pt x="5" y="22"/>
                    <a:pt x="4" y="22"/>
                    <a:pt x="4" y="22"/>
                  </a:cubicBezTo>
                  <a:close/>
                  <a:moveTo>
                    <a:pt x="206" y="22"/>
                  </a:moveTo>
                  <a:cubicBezTo>
                    <a:pt x="207" y="22"/>
                    <a:pt x="206" y="22"/>
                    <a:pt x="206" y="22"/>
                  </a:cubicBezTo>
                  <a:close/>
                  <a:moveTo>
                    <a:pt x="4" y="23"/>
                  </a:moveTo>
                  <a:cubicBezTo>
                    <a:pt x="4" y="23"/>
                    <a:pt x="4" y="23"/>
                    <a:pt x="4" y="23"/>
                  </a:cubicBezTo>
                  <a:close/>
                  <a:moveTo>
                    <a:pt x="5" y="30"/>
                  </a:moveTo>
                  <a:cubicBezTo>
                    <a:pt x="5" y="30"/>
                    <a:pt x="5" y="30"/>
                    <a:pt x="5" y="30"/>
                  </a:cubicBezTo>
                  <a:close/>
                  <a:moveTo>
                    <a:pt x="4" y="33"/>
                  </a:moveTo>
                  <a:cubicBezTo>
                    <a:pt x="5" y="33"/>
                    <a:pt x="4" y="33"/>
                    <a:pt x="4" y="33"/>
                  </a:cubicBezTo>
                  <a:close/>
                  <a:moveTo>
                    <a:pt x="4" y="34"/>
                  </a:moveTo>
                  <a:cubicBezTo>
                    <a:pt x="5" y="34"/>
                    <a:pt x="4" y="33"/>
                    <a:pt x="4" y="34"/>
                  </a:cubicBezTo>
                  <a:close/>
                  <a:moveTo>
                    <a:pt x="206" y="39"/>
                  </a:moveTo>
                  <a:cubicBezTo>
                    <a:pt x="206" y="39"/>
                    <a:pt x="206" y="39"/>
                    <a:pt x="206" y="39"/>
                  </a:cubicBezTo>
                  <a:close/>
                  <a:moveTo>
                    <a:pt x="206" y="40"/>
                  </a:moveTo>
                  <a:cubicBezTo>
                    <a:pt x="207" y="40"/>
                    <a:pt x="206" y="40"/>
                    <a:pt x="206" y="40"/>
                  </a:cubicBezTo>
                  <a:close/>
                  <a:moveTo>
                    <a:pt x="206" y="48"/>
                  </a:moveTo>
                  <a:cubicBezTo>
                    <a:pt x="207" y="48"/>
                    <a:pt x="206" y="47"/>
                    <a:pt x="206" y="48"/>
                  </a:cubicBezTo>
                  <a:close/>
                  <a:moveTo>
                    <a:pt x="205" y="49"/>
                  </a:moveTo>
                  <a:cubicBezTo>
                    <a:pt x="206" y="49"/>
                    <a:pt x="205" y="49"/>
                    <a:pt x="205" y="49"/>
                  </a:cubicBezTo>
                  <a:close/>
                  <a:moveTo>
                    <a:pt x="4" y="55"/>
                  </a:moveTo>
                  <a:cubicBezTo>
                    <a:pt x="5" y="55"/>
                    <a:pt x="4" y="55"/>
                    <a:pt x="4" y="55"/>
                  </a:cubicBezTo>
                  <a:close/>
                  <a:moveTo>
                    <a:pt x="4" y="56"/>
                  </a:moveTo>
                  <a:cubicBezTo>
                    <a:pt x="5" y="56"/>
                    <a:pt x="4" y="56"/>
                    <a:pt x="4" y="56"/>
                  </a:cubicBezTo>
                  <a:close/>
                  <a:moveTo>
                    <a:pt x="208" y="67"/>
                  </a:moveTo>
                  <a:cubicBezTo>
                    <a:pt x="208" y="67"/>
                    <a:pt x="208" y="67"/>
                    <a:pt x="208" y="67"/>
                  </a:cubicBezTo>
                  <a:close/>
                  <a:moveTo>
                    <a:pt x="4" y="70"/>
                  </a:moveTo>
                  <a:cubicBezTo>
                    <a:pt x="5" y="73"/>
                    <a:pt x="3" y="69"/>
                    <a:pt x="4" y="70"/>
                  </a:cubicBezTo>
                  <a:close/>
                  <a:moveTo>
                    <a:pt x="4" y="71"/>
                  </a:moveTo>
                  <a:cubicBezTo>
                    <a:pt x="5" y="71"/>
                    <a:pt x="4" y="70"/>
                    <a:pt x="4" y="71"/>
                  </a:cubicBezTo>
                  <a:close/>
                  <a:moveTo>
                    <a:pt x="4" y="75"/>
                  </a:moveTo>
                  <a:cubicBezTo>
                    <a:pt x="5" y="75"/>
                    <a:pt x="4" y="74"/>
                    <a:pt x="4" y="75"/>
                  </a:cubicBezTo>
                  <a:close/>
                  <a:moveTo>
                    <a:pt x="4" y="75"/>
                  </a:moveTo>
                  <a:cubicBezTo>
                    <a:pt x="4" y="75"/>
                    <a:pt x="4" y="75"/>
                    <a:pt x="4" y="75"/>
                  </a:cubicBezTo>
                  <a:close/>
                  <a:moveTo>
                    <a:pt x="4" y="75"/>
                  </a:moveTo>
                  <a:cubicBezTo>
                    <a:pt x="5" y="75"/>
                    <a:pt x="4" y="75"/>
                    <a:pt x="4" y="75"/>
                  </a:cubicBezTo>
                  <a:close/>
                  <a:moveTo>
                    <a:pt x="4" y="76"/>
                  </a:moveTo>
                  <a:cubicBezTo>
                    <a:pt x="4" y="76"/>
                    <a:pt x="4" y="76"/>
                    <a:pt x="4" y="76"/>
                  </a:cubicBezTo>
                  <a:close/>
                  <a:moveTo>
                    <a:pt x="3" y="77"/>
                  </a:moveTo>
                  <a:cubicBezTo>
                    <a:pt x="3" y="77"/>
                    <a:pt x="3" y="77"/>
                    <a:pt x="3" y="77"/>
                  </a:cubicBezTo>
                  <a:close/>
                  <a:moveTo>
                    <a:pt x="209" y="83"/>
                  </a:moveTo>
                  <a:cubicBezTo>
                    <a:pt x="209" y="83"/>
                    <a:pt x="208" y="83"/>
                    <a:pt x="209" y="83"/>
                  </a:cubicBezTo>
                  <a:close/>
                  <a:moveTo>
                    <a:pt x="207" y="92"/>
                  </a:moveTo>
                  <a:cubicBezTo>
                    <a:pt x="207" y="93"/>
                    <a:pt x="207" y="92"/>
                    <a:pt x="207" y="92"/>
                  </a:cubicBezTo>
                  <a:close/>
                  <a:moveTo>
                    <a:pt x="4" y="93"/>
                  </a:moveTo>
                  <a:cubicBezTo>
                    <a:pt x="4" y="93"/>
                    <a:pt x="4" y="93"/>
                    <a:pt x="4" y="93"/>
                  </a:cubicBezTo>
                  <a:close/>
                  <a:moveTo>
                    <a:pt x="3" y="94"/>
                  </a:moveTo>
                  <a:cubicBezTo>
                    <a:pt x="4" y="94"/>
                    <a:pt x="3" y="94"/>
                    <a:pt x="3" y="94"/>
                  </a:cubicBezTo>
                  <a:close/>
                  <a:moveTo>
                    <a:pt x="3" y="94"/>
                  </a:moveTo>
                  <a:cubicBezTo>
                    <a:pt x="3" y="94"/>
                    <a:pt x="3" y="94"/>
                    <a:pt x="3" y="94"/>
                  </a:cubicBezTo>
                  <a:close/>
                  <a:moveTo>
                    <a:pt x="3" y="95"/>
                  </a:moveTo>
                  <a:cubicBezTo>
                    <a:pt x="3" y="95"/>
                    <a:pt x="3" y="95"/>
                    <a:pt x="3" y="95"/>
                  </a:cubicBezTo>
                  <a:close/>
                  <a:moveTo>
                    <a:pt x="3" y="95"/>
                  </a:moveTo>
                  <a:cubicBezTo>
                    <a:pt x="3" y="95"/>
                    <a:pt x="2" y="95"/>
                    <a:pt x="3" y="95"/>
                  </a:cubicBezTo>
                  <a:close/>
                  <a:moveTo>
                    <a:pt x="209" y="97"/>
                  </a:moveTo>
                  <a:cubicBezTo>
                    <a:pt x="209" y="98"/>
                    <a:pt x="208" y="97"/>
                    <a:pt x="209" y="97"/>
                  </a:cubicBezTo>
                  <a:close/>
                  <a:moveTo>
                    <a:pt x="2" y="99"/>
                  </a:moveTo>
                  <a:cubicBezTo>
                    <a:pt x="2" y="100"/>
                    <a:pt x="2" y="98"/>
                    <a:pt x="2" y="99"/>
                  </a:cubicBezTo>
                  <a:close/>
                  <a:moveTo>
                    <a:pt x="2" y="103"/>
                  </a:moveTo>
                  <a:cubicBezTo>
                    <a:pt x="2" y="103"/>
                    <a:pt x="2" y="103"/>
                    <a:pt x="2" y="103"/>
                  </a:cubicBezTo>
                  <a:close/>
                  <a:moveTo>
                    <a:pt x="207" y="105"/>
                  </a:moveTo>
                  <a:cubicBezTo>
                    <a:pt x="207" y="105"/>
                    <a:pt x="207" y="104"/>
                    <a:pt x="207" y="105"/>
                  </a:cubicBezTo>
                  <a:close/>
                  <a:moveTo>
                    <a:pt x="2" y="106"/>
                  </a:moveTo>
                  <a:cubicBezTo>
                    <a:pt x="2" y="106"/>
                    <a:pt x="1" y="106"/>
                    <a:pt x="2" y="106"/>
                  </a:cubicBezTo>
                  <a:close/>
                  <a:moveTo>
                    <a:pt x="4" y="112"/>
                  </a:moveTo>
                  <a:cubicBezTo>
                    <a:pt x="4" y="113"/>
                    <a:pt x="4" y="112"/>
                    <a:pt x="4" y="112"/>
                  </a:cubicBezTo>
                  <a:close/>
                  <a:moveTo>
                    <a:pt x="5" y="112"/>
                  </a:moveTo>
                  <a:cubicBezTo>
                    <a:pt x="5" y="113"/>
                    <a:pt x="5" y="112"/>
                    <a:pt x="5" y="112"/>
                  </a:cubicBezTo>
                  <a:close/>
                  <a:moveTo>
                    <a:pt x="3" y="113"/>
                  </a:moveTo>
                  <a:cubicBezTo>
                    <a:pt x="4" y="113"/>
                    <a:pt x="3" y="113"/>
                    <a:pt x="3" y="113"/>
                  </a:cubicBezTo>
                  <a:close/>
                  <a:moveTo>
                    <a:pt x="4" y="113"/>
                  </a:moveTo>
                  <a:cubicBezTo>
                    <a:pt x="4" y="113"/>
                    <a:pt x="4" y="113"/>
                    <a:pt x="4" y="113"/>
                  </a:cubicBezTo>
                  <a:close/>
                  <a:moveTo>
                    <a:pt x="3" y="114"/>
                  </a:moveTo>
                  <a:cubicBezTo>
                    <a:pt x="4" y="114"/>
                    <a:pt x="3" y="114"/>
                    <a:pt x="3" y="114"/>
                  </a:cubicBezTo>
                  <a:close/>
                  <a:moveTo>
                    <a:pt x="207" y="115"/>
                  </a:moveTo>
                  <a:cubicBezTo>
                    <a:pt x="208" y="116"/>
                    <a:pt x="208" y="114"/>
                    <a:pt x="207" y="115"/>
                  </a:cubicBezTo>
                  <a:close/>
                  <a:moveTo>
                    <a:pt x="3" y="115"/>
                  </a:moveTo>
                  <a:cubicBezTo>
                    <a:pt x="3" y="115"/>
                    <a:pt x="3" y="115"/>
                    <a:pt x="3" y="115"/>
                  </a:cubicBezTo>
                  <a:close/>
                  <a:moveTo>
                    <a:pt x="3" y="116"/>
                  </a:moveTo>
                  <a:cubicBezTo>
                    <a:pt x="3" y="116"/>
                    <a:pt x="2" y="116"/>
                    <a:pt x="3" y="116"/>
                  </a:cubicBezTo>
                  <a:close/>
                  <a:moveTo>
                    <a:pt x="3" y="117"/>
                  </a:moveTo>
                  <a:cubicBezTo>
                    <a:pt x="3" y="117"/>
                    <a:pt x="2" y="117"/>
                    <a:pt x="3" y="117"/>
                  </a:cubicBezTo>
                  <a:close/>
                  <a:moveTo>
                    <a:pt x="2" y="118"/>
                  </a:moveTo>
                  <a:cubicBezTo>
                    <a:pt x="2" y="118"/>
                    <a:pt x="2" y="118"/>
                    <a:pt x="2" y="118"/>
                  </a:cubicBezTo>
                  <a:close/>
                  <a:moveTo>
                    <a:pt x="208" y="130"/>
                  </a:moveTo>
                  <a:cubicBezTo>
                    <a:pt x="208" y="130"/>
                    <a:pt x="208" y="130"/>
                    <a:pt x="208" y="130"/>
                  </a:cubicBezTo>
                  <a:close/>
                  <a:moveTo>
                    <a:pt x="208" y="131"/>
                  </a:moveTo>
                  <a:cubicBezTo>
                    <a:pt x="208" y="131"/>
                    <a:pt x="208" y="131"/>
                    <a:pt x="208" y="131"/>
                  </a:cubicBezTo>
                  <a:close/>
                  <a:moveTo>
                    <a:pt x="4" y="132"/>
                  </a:moveTo>
                  <a:cubicBezTo>
                    <a:pt x="4" y="132"/>
                    <a:pt x="4" y="132"/>
                    <a:pt x="4" y="132"/>
                  </a:cubicBezTo>
                  <a:close/>
                  <a:moveTo>
                    <a:pt x="4" y="133"/>
                  </a:moveTo>
                  <a:cubicBezTo>
                    <a:pt x="4" y="133"/>
                    <a:pt x="4" y="132"/>
                    <a:pt x="4" y="133"/>
                  </a:cubicBezTo>
                  <a:close/>
                  <a:moveTo>
                    <a:pt x="209" y="134"/>
                  </a:moveTo>
                  <a:cubicBezTo>
                    <a:pt x="209" y="134"/>
                    <a:pt x="209" y="134"/>
                    <a:pt x="209" y="134"/>
                  </a:cubicBezTo>
                  <a:close/>
                  <a:moveTo>
                    <a:pt x="3" y="135"/>
                  </a:moveTo>
                  <a:cubicBezTo>
                    <a:pt x="3" y="135"/>
                    <a:pt x="3" y="135"/>
                    <a:pt x="3" y="135"/>
                  </a:cubicBezTo>
                  <a:close/>
                  <a:moveTo>
                    <a:pt x="203" y="148"/>
                  </a:moveTo>
                  <a:cubicBezTo>
                    <a:pt x="203" y="148"/>
                    <a:pt x="203" y="148"/>
                    <a:pt x="203" y="148"/>
                  </a:cubicBezTo>
                  <a:close/>
                  <a:moveTo>
                    <a:pt x="149" y="165"/>
                  </a:moveTo>
                  <a:cubicBezTo>
                    <a:pt x="150" y="166"/>
                    <a:pt x="150" y="164"/>
                    <a:pt x="149" y="165"/>
                  </a:cubicBezTo>
                  <a:close/>
                  <a:moveTo>
                    <a:pt x="136" y="173"/>
                  </a:moveTo>
                  <a:cubicBezTo>
                    <a:pt x="137" y="174"/>
                    <a:pt x="135" y="172"/>
                    <a:pt x="136" y="173"/>
                  </a:cubicBezTo>
                  <a:close/>
                  <a:moveTo>
                    <a:pt x="137" y="173"/>
                  </a:moveTo>
                  <a:cubicBezTo>
                    <a:pt x="137" y="174"/>
                    <a:pt x="137" y="173"/>
                    <a:pt x="137" y="173"/>
                  </a:cubicBezTo>
                  <a:close/>
                  <a:moveTo>
                    <a:pt x="137" y="174"/>
                  </a:moveTo>
                  <a:cubicBezTo>
                    <a:pt x="137" y="174"/>
                    <a:pt x="136" y="174"/>
                    <a:pt x="137" y="174"/>
                  </a:cubicBezTo>
                  <a:close/>
                  <a:moveTo>
                    <a:pt x="159" y="188"/>
                  </a:moveTo>
                  <a:cubicBezTo>
                    <a:pt x="159" y="189"/>
                    <a:pt x="159" y="188"/>
                    <a:pt x="159" y="18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600" dirty="0">
                <a:solidFill>
                  <a:schemeClr val="bg1"/>
                </a:solidFill>
              </a:endParaRPr>
            </a:p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day</a:t>
              </a:r>
            </a:p>
            <a:p>
              <a:pPr algn="ctr"/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4CEAE3F3-C6EC-EB77-26F2-553184E5D45C}"/>
                </a:ext>
              </a:extLst>
            </p:cNvPr>
            <p:cNvSpPr/>
            <p:nvPr/>
          </p:nvSpPr>
          <p:spPr>
            <a:xfrm>
              <a:off x="4988404" y="1300170"/>
              <a:ext cx="2478699" cy="357032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/>
              <a:endParaRPr lang="en-US" sz="1300" dirty="0">
                <a:solidFill>
                  <a:schemeClr val="bg1"/>
                </a:solidFill>
              </a:endParaRPr>
            </a:p>
          </p:txBody>
        </p:sp>
      </p:grpSp>
      <p:sp>
        <p:nvSpPr>
          <p:cNvPr id="104" name="Freeform 91">
            <a:extLst>
              <a:ext uri="{FF2B5EF4-FFF2-40B4-BE49-F238E27FC236}">
                <a16:creationId xmlns:a16="http://schemas.microsoft.com/office/drawing/2014/main" id="{9593A51C-A295-9BEB-C1D2-88546FE872E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437601" y="4524106"/>
            <a:ext cx="1774809" cy="962321"/>
          </a:xfrm>
          <a:custGeom>
            <a:avLst/>
            <a:gdLst>
              <a:gd name="T0" fmla="*/ 171 w 211"/>
              <a:gd name="T1" fmla="*/ 3 h 190"/>
              <a:gd name="T2" fmla="*/ 194 w 211"/>
              <a:gd name="T3" fmla="*/ 6 h 190"/>
              <a:gd name="T4" fmla="*/ 207 w 211"/>
              <a:gd name="T5" fmla="*/ 22 h 190"/>
              <a:gd name="T6" fmla="*/ 208 w 211"/>
              <a:gd name="T7" fmla="*/ 42 h 190"/>
              <a:gd name="T8" fmla="*/ 209 w 211"/>
              <a:gd name="T9" fmla="*/ 65 h 190"/>
              <a:gd name="T10" fmla="*/ 209 w 211"/>
              <a:gd name="T11" fmla="*/ 83 h 190"/>
              <a:gd name="T12" fmla="*/ 210 w 211"/>
              <a:gd name="T13" fmla="*/ 102 h 190"/>
              <a:gd name="T14" fmla="*/ 208 w 211"/>
              <a:gd name="T15" fmla="*/ 114 h 190"/>
              <a:gd name="T16" fmla="*/ 209 w 211"/>
              <a:gd name="T17" fmla="*/ 134 h 190"/>
              <a:gd name="T18" fmla="*/ 196 w 211"/>
              <a:gd name="T19" fmla="*/ 151 h 190"/>
              <a:gd name="T20" fmla="*/ 167 w 211"/>
              <a:gd name="T21" fmla="*/ 153 h 190"/>
              <a:gd name="T22" fmla="*/ 147 w 211"/>
              <a:gd name="T23" fmla="*/ 161 h 190"/>
              <a:gd name="T24" fmla="*/ 156 w 211"/>
              <a:gd name="T25" fmla="*/ 180 h 190"/>
              <a:gd name="T26" fmla="*/ 148 w 211"/>
              <a:gd name="T27" fmla="*/ 183 h 190"/>
              <a:gd name="T28" fmla="*/ 121 w 211"/>
              <a:gd name="T29" fmla="*/ 165 h 190"/>
              <a:gd name="T30" fmla="*/ 84 w 211"/>
              <a:gd name="T31" fmla="*/ 156 h 190"/>
              <a:gd name="T32" fmla="*/ 69 w 211"/>
              <a:gd name="T33" fmla="*/ 152 h 190"/>
              <a:gd name="T34" fmla="*/ 11 w 211"/>
              <a:gd name="T35" fmla="*/ 151 h 190"/>
              <a:gd name="T36" fmla="*/ 2 w 211"/>
              <a:gd name="T37" fmla="*/ 124 h 190"/>
              <a:gd name="T38" fmla="*/ 2 w 211"/>
              <a:gd name="T39" fmla="*/ 108 h 190"/>
              <a:gd name="T40" fmla="*/ 2 w 211"/>
              <a:gd name="T41" fmla="*/ 99 h 190"/>
              <a:gd name="T42" fmla="*/ 3 w 211"/>
              <a:gd name="T43" fmla="*/ 93 h 190"/>
              <a:gd name="T44" fmla="*/ 3 w 211"/>
              <a:gd name="T45" fmla="*/ 75 h 190"/>
              <a:gd name="T46" fmla="*/ 4 w 211"/>
              <a:gd name="T47" fmla="*/ 69 h 190"/>
              <a:gd name="T48" fmla="*/ 4 w 211"/>
              <a:gd name="T49" fmla="*/ 50 h 190"/>
              <a:gd name="T50" fmla="*/ 5 w 211"/>
              <a:gd name="T51" fmla="*/ 30 h 190"/>
              <a:gd name="T52" fmla="*/ 6 w 211"/>
              <a:gd name="T53" fmla="*/ 16 h 190"/>
              <a:gd name="T54" fmla="*/ 10 w 211"/>
              <a:gd name="T55" fmla="*/ 7 h 190"/>
              <a:gd name="T56" fmla="*/ 21 w 211"/>
              <a:gd name="T57" fmla="*/ 4 h 190"/>
              <a:gd name="T58" fmla="*/ 55 w 211"/>
              <a:gd name="T59" fmla="*/ 4 h 190"/>
              <a:gd name="T60" fmla="*/ 73 w 211"/>
              <a:gd name="T61" fmla="*/ 2 h 190"/>
              <a:gd name="T62" fmla="*/ 109 w 211"/>
              <a:gd name="T63" fmla="*/ 2 h 190"/>
              <a:gd name="T64" fmla="*/ 202 w 211"/>
              <a:gd name="T65" fmla="*/ 148 h 190"/>
              <a:gd name="T66" fmla="*/ 9 w 211"/>
              <a:gd name="T67" fmla="*/ 10 h 190"/>
              <a:gd name="T68" fmla="*/ 182 w 211"/>
              <a:gd name="T69" fmla="*/ 2 h 190"/>
              <a:gd name="T70" fmla="*/ 67 w 211"/>
              <a:gd name="T71" fmla="*/ 3 h 190"/>
              <a:gd name="T72" fmla="*/ 44 w 211"/>
              <a:gd name="T73" fmla="*/ 4 h 190"/>
              <a:gd name="T74" fmla="*/ 27 w 211"/>
              <a:gd name="T75" fmla="*/ 4 h 190"/>
              <a:gd name="T76" fmla="*/ 26 w 211"/>
              <a:gd name="T77" fmla="*/ 4 h 190"/>
              <a:gd name="T78" fmla="*/ 19 w 211"/>
              <a:gd name="T79" fmla="*/ 6 h 190"/>
              <a:gd name="T80" fmla="*/ 10 w 211"/>
              <a:gd name="T81" fmla="*/ 9 h 190"/>
              <a:gd name="T82" fmla="*/ 8 w 211"/>
              <a:gd name="T83" fmla="*/ 11 h 190"/>
              <a:gd name="T84" fmla="*/ 6 w 211"/>
              <a:gd name="T85" fmla="*/ 18 h 190"/>
              <a:gd name="T86" fmla="*/ 206 w 211"/>
              <a:gd name="T87" fmla="*/ 22 h 190"/>
              <a:gd name="T88" fmla="*/ 4 w 211"/>
              <a:gd name="T89" fmla="*/ 34 h 190"/>
              <a:gd name="T90" fmla="*/ 205 w 211"/>
              <a:gd name="T91" fmla="*/ 49 h 190"/>
              <a:gd name="T92" fmla="*/ 4 w 211"/>
              <a:gd name="T93" fmla="*/ 70 h 190"/>
              <a:gd name="T94" fmla="*/ 4 w 211"/>
              <a:gd name="T95" fmla="*/ 75 h 190"/>
              <a:gd name="T96" fmla="*/ 207 w 211"/>
              <a:gd name="T97" fmla="*/ 92 h 190"/>
              <a:gd name="T98" fmla="*/ 3 w 211"/>
              <a:gd name="T99" fmla="*/ 95 h 190"/>
              <a:gd name="T100" fmla="*/ 2 w 211"/>
              <a:gd name="T101" fmla="*/ 103 h 190"/>
              <a:gd name="T102" fmla="*/ 5 w 211"/>
              <a:gd name="T103" fmla="*/ 112 h 190"/>
              <a:gd name="T104" fmla="*/ 207 w 211"/>
              <a:gd name="T105" fmla="*/ 115 h 190"/>
              <a:gd name="T106" fmla="*/ 2 w 211"/>
              <a:gd name="T107" fmla="*/ 118 h 190"/>
              <a:gd name="T108" fmla="*/ 4 w 211"/>
              <a:gd name="T109" fmla="*/ 133 h 190"/>
              <a:gd name="T110" fmla="*/ 149 w 211"/>
              <a:gd name="T111" fmla="*/ 165 h 190"/>
              <a:gd name="T112" fmla="*/ 159 w 211"/>
              <a:gd name="T113" fmla="*/ 188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11" h="190">
                <a:moveTo>
                  <a:pt x="124" y="1"/>
                </a:moveTo>
                <a:cubicBezTo>
                  <a:pt x="125" y="1"/>
                  <a:pt x="124" y="1"/>
                  <a:pt x="124" y="1"/>
                </a:cubicBezTo>
                <a:cubicBezTo>
                  <a:pt x="132" y="0"/>
                  <a:pt x="142" y="2"/>
                  <a:pt x="154" y="1"/>
                </a:cubicBezTo>
                <a:cubicBezTo>
                  <a:pt x="154" y="1"/>
                  <a:pt x="153" y="1"/>
                  <a:pt x="153" y="1"/>
                </a:cubicBezTo>
                <a:cubicBezTo>
                  <a:pt x="154" y="1"/>
                  <a:pt x="154" y="1"/>
                  <a:pt x="154" y="2"/>
                </a:cubicBezTo>
                <a:cubicBezTo>
                  <a:pt x="154" y="1"/>
                  <a:pt x="155" y="1"/>
                  <a:pt x="155" y="2"/>
                </a:cubicBezTo>
                <a:cubicBezTo>
                  <a:pt x="156" y="1"/>
                  <a:pt x="165" y="0"/>
                  <a:pt x="166" y="3"/>
                </a:cubicBezTo>
                <a:cubicBezTo>
                  <a:pt x="167" y="1"/>
                  <a:pt x="170" y="4"/>
                  <a:pt x="171" y="3"/>
                </a:cubicBezTo>
                <a:cubicBezTo>
                  <a:pt x="172" y="3"/>
                  <a:pt x="172" y="4"/>
                  <a:pt x="174" y="3"/>
                </a:cubicBezTo>
                <a:cubicBezTo>
                  <a:pt x="174" y="2"/>
                  <a:pt x="172" y="4"/>
                  <a:pt x="172" y="3"/>
                </a:cubicBezTo>
                <a:cubicBezTo>
                  <a:pt x="171" y="3"/>
                  <a:pt x="175" y="2"/>
                  <a:pt x="175" y="3"/>
                </a:cubicBezTo>
                <a:cubicBezTo>
                  <a:pt x="176" y="2"/>
                  <a:pt x="179" y="3"/>
                  <a:pt x="180" y="2"/>
                </a:cubicBezTo>
                <a:cubicBezTo>
                  <a:pt x="181" y="2"/>
                  <a:pt x="188" y="2"/>
                  <a:pt x="188" y="4"/>
                </a:cubicBezTo>
                <a:cubicBezTo>
                  <a:pt x="189" y="3"/>
                  <a:pt x="189" y="4"/>
                  <a:pt x="189" y="4"/>
                </a:cubicBezTo>
                <a:cubicBezTo>
                  <a:pt x="191" y="4"/>
                  <a:pt x="192" y="5"/>
                  <a:pt x="195" y="4"/>
                </a:cubicBezTo>
                <a:cubicBezTo>
                  <a:pt x="194" y="5"/>
                  <a:pt x="195" y="5"/>
                  <a:pt x="194" y="6"/>
                </a:cubicBezTo>
                <a:cubicBezTo>
                  <a:pt x="196" y="8"/>
                  <a:pt x="202" y="6"/>
                  <a:pt x="202" y="8"/>
                </a:cubicBezTo>
                <a:cubicBezTo>
                  <a:pt x="202" y="8"/>
                  <a:pt x="202" y="8"/>
                  <a:pt x="203" y="8"/>
                </a:cubicBezTo>
                <a:cubicBezTo>
                  <a:pt x="203" y="8"/>
                  <a:pt x="203" y="8"/>
                  <a:pt x="202" y="8"/>
                </a:cubicBezTo>
                <a:cubicBezTo>
                  <a:pt x="204" y="9"/>
                  <a:pt x="205" y="11"/>
                  <a:pt x="207" y="12"/>
                </a:cubicBezTo>
                <a:cubicBezTo>
                  <a:pt x="206" y="13"/>
                  <a:pt x="207" y="13"/>
                  <a:pt x="208" y="14"/>
                </a:cubicBezTo>
                <a:cubicBezTo>
                  <a:pt x="207" y="16"/>
                  <a:pt x="207" y="17"/>
                  <a:pt x="208" y="19"/>
                </a:cubicBezTo>
                <a:cubicBezTo>
                  <a:pt x="208" y="19"/>
                  <a:pt x="208" y="19"/>
                  <a:pt x="207" y="19"/>
                </a:cubicBezTo>
                <a:cubicBezTo>
                  <a:pt x="207" y="20"/>
                  <a:pt x="208" y="21"/>
                  <a:pt x="207" y="22"/>
                </a:cubicBezTo>
                <a:cubicBezTo>
                  <a:pt x="210" y="24"/>
                  <a:pt x="209" y="27"/>
                  <a:pt x="209" y="30"/>
                </a:cubicBezTo>
                <a:cubicBezTo>
                  <a:pt x="207" y="29"/>
                  <a:pt x="208" y="31"/>
                  <a:pt x="207" y="32"/>
                </a:cubicBezTo>
                <a:cubicBezTo>
                  <a:pt x="208" y="32"/>
                  <a:pt x="207" y="32"/>
                  <a:pt x="207" y="33"/>
                </a:cubicBezTo>
                <a:cubicBezTo>
                  <a:pt x="208" y="33"/>
                  <a:pt x="209" y="35"/>
                  <a:pt x="209" y="37"/>
                </a:cubicBezTo>
                <a:cubicBezTo>
                  <a:pt x="209" y="38"/>
                  <a:pt x="208" y="37"/>
                  <a:pt x="208" y="38"/>
                </a:cubicBezTo>
                <a:cubicBezTo>
                  <a:pt x="208" y="37"/>
                  <a:pt x="207" y="40"/>
                  <a:pt x="207" y="38"/>
                </a:cubicBezTo>
                <a:cubicBezTo>
                  <a:pt x="206" y="38"/>
                  <a:pt x="207" y="40"/>
                  <a:pt x="208" y="39"/>
                </a:cubicBezTo>
                <a:cubicBezTo>
                  <a:pt x="207" y="40"/>
                  <a:pt x="207" y="41"/>
                  <a:pt x="208" y="42"/>
                </a:cubicBezTo>
                <a:cubicBezTo>
                  <a:pt x="208" y="42"/>
                  <a:pt x="207" y="42"/>
                  <a:pt x="206" y="42"/>
                </a:cubicBezTo>
                <a:cubicBezTo>
                  <a:pt x="206" y="43"/>
                  <a:pt x="207" y="43"/>
                  <a:pt x="207" y="42"/>
                </a:cubicBezTo>
                <a:cubicBezTo>
                  <a:pt x="207" y="45"/>
                  <a:pt x="208" y="46"/>
                  <a:pt x="207" y="48"/>
                </a:cubicBezTo>
                <a:cubicBezTo>
                  <a:pt x="206" y="48"/>
                  <a:pt x="207" y="50"/>
                  <a:pt x="206" y="49"/>
                </a:cubicBezTo>
                <a:cubicBezTo>
                  <a:pt x="206" y="49"/>
                  <a:pt x="206" y="50"/>
                  <a:pt x="205" y="50"/>
                </a:cubicBezTo>
                <a:cubicBezTo>
                  <a:pt x="208" y="51"/>
                  <a:pt x="206" y="55"/>
                  <a:pt x="209" y="56"/>
                </a:cubicBezTo>
                <a:cubicBezTo>
                  <a:pt x="208" y="56"/>
                  <a:pt x="208" y="56"/>
                  <a:pt x="208" y="56"/>
                </a:cubicBezTo>
                <a:cubicBezTo>
                  <a:pt x="210" y="59"/>
                  <a:pt x="208" y="61"/>
                  <a:pt x="209" y="65"/>
                </a:cubicBezTo>
                <a:cubicBezTo>
                  <a:pt x="209" y="66"/>
                  <a:pt x="209" y="65"/>
                  <a:pt x="208" y="65"/>
                </a:cubicBezTo>
                <a:cubicBezTo>
                  <a:pt x="208" y="65"/>
                  <a:pt x="209" y="65"/>
                  <a:pt x="209" y="66"/>
                </a:cubicBezTo>
                <a:cubicBezTo>
                  <a:pt x="208" y="65"/>
                  <a:pt x="208" y="67"/>
                  <a:pt x="209" y="68"/>
                </a:cubicBezTo>
                <a:cubicBezTo>
                  <a:pt x="208" y="68"/>
                  <a:pt x="208" y="68"/>
                  <a:pt x="208" y="67"/>
                </a:cubicBezTo>
                <a:cubicBezTo>
                  <a:pt x="207" y="68"/>
                  <a:pt x="209" y="69"/>
                  <a:pt x="209" y="70"/>
                </a:cubicBezTo>
                <a:cubicBezTo>
                  <a:pt x="207" y="74"/>
                  <a:pt x="210" y="77"/>
                  <a:pt x="209" y="82"/>
                </a:cubicBezTo>
                <a:cubicBezTo>
                  <a:pt x="211" y="81"/>
                  <a:pt x="208" y="82"/>
                  <a:pt x="210" y="82"/>
                </a:cubicBezTo>
                <a:cubicBezTo>
                  <a:pt x="209" y="83"/>
                  <a:pt x="209" y="83"/>
                  <a:pt x="209" y="83"/>
                </a:cubicBezTo>
                <a:cubicBezTo>
                  <a:pt x="209" y="84"/>
                  <a:pt x="209" y="86"/>
                  <a:pt x="209" y="87"/>
                </a:cubicBezTo>
                <a:cubicBezTo>
                  <a:pt x="209" y="88"/>
                  <a:pt x="209" y="88"/>
                  <a:pt x="209" y="89"/>
                </a:cubicBezTo>
                <a:cubicBezTo>
                  <a:pt x="209" y="89"/>
                  <a:pt x="209" y="89"/>
                  <a:pt x="209" y="89"/>
                </a:cubicBezTo>
                <a:cubicBezTo>
                  <a:pt x="209" y="89"/>
                  <a:pt x="209" y="90"/>
                  <a:pt x="208" y="90"/>
                </a:cubicBezTo>
                <a:cubicBezTo>
                  <a:pt x="208" y="92"/>
                  <a:pt x="208" y="93"/>
                  <a:pt x="207" y="94"/>
                </a:cubicBezTo>
                <a:cubicBezTo>
                  <a:pt x="207" y="94"/>
                  <a:pt x="208" y="94"/>
                  <a:pt x="208" y="94"/>
                </a:cubicBezTo>
                <a:cubicBezTo>
                  <a:pt x="209" y="94"/>
                  <a:pt x="208" y="95"/>
                  <a:pt x="209" y="95"/>
                </a:cubicBezTo>
                <a:cubicBezTo>
                  <a:pt x="209" y="98"/>
                  <a:pt x="210" y="100"/>
                  <a:pt x="210" y="102"/>
                </a:cubicBezTo>
                <a:cubicBezTo>
                  <a:pt x="210" y="103"/>
                  <a:pt x="209" y="103"/>
                  <a:pt x="209" y="104"/>
                </a:cubicBezTo>
                <a:cubicBezTo>
                  <a:pt x="208" y="104"/>
                  <a:pt x="208" y="103"/>
                  <a:pt x="208" y="103"/>
                </a:cubicBezTo>
                <a:cubicBezTo>
                  <a:pt x="208" y="104"/>
                  <a:pt x="209" y="107"/>
                  <a:pt x="209" y="106"/>
                </a:cubicBezTo>
                <a:cubicBezTo>
                  <a:pt x="210" y="106"/>
                  <a:pt x="210" y="107"/>
                  <a:pt x="210" y="107"/>
                </a:cubicBezTo>
                <a:cubicBezTo>
                  <a:pt x="209" y="107"/>
                  <a:pt x="209" y="112"/>
                  <a:pt x="209" y="114"/>
                </a:cubicBezTo>
                <a:cubicBezTo>
                  <a:pt x="208" y="113"/>
                  <a:pt x="209" y="114"/>
                  <a:pt x="208" y="114"/>
                </a:cubicBezTo>
                <a:cubicBezTo>
                  <a:pt x="208" y="114"/>
                  <a:pt x="208" y="114"/>
                  <a:pt x="208" y="114"/>
                </a:cubicBezTo>
                <a:cubicBezTo>
                  <a:pt x="208" y="114"/>
                  <a:pt x="208" y="114"/>
                  <a:pt x="208" y="114"/>
                </a:cubicBezTo>
                <a:cubicBezTo>
                  <a:pt x="208" y="115"/>
                  <a:pt x="208" y="115"/>
                  <a:pt x="208" y="116"/>
                </a:cubicBezTo>
                <a:cubicBezTo>
                  <a:pt x="208" y="115"/>
                  <a:pt x="209" y="115"/>
                  <a:pt x="209" y="115"/>
                </a:cubicBezTo>
                <a:cubicBezTo>
                  <a:pt x="209" y="118"/>
                  <a:pt x="209" y="126"/>
                  <a:pt x="209" y="128"/>
                </a:cubicBezTo>
                <a:cubicBezTo>
                  <a:pt x="208" y="127"/>
                  <a:pt x="208" y="128"/>
                  <a:pt x="208" y="128"/>
                </a:cubicBezTo>
                <a:cubicBezTo>
                  <a:pt x="209" y="128"/>
                  <a:pt x="208" y="128"/>
                  <a:pt x="208" y="129"/>
                </a:cubicBezTo>
                <a:cubicBezTo>
                  <a:pt x="209" y="128"/>
                  <a:pt x="208" y="134"/>
                  <a:pt x="210" y="133"/>
                </a:cubicBezTo>
                <a:cubicBezTo>
                  <a:pt x="210" y="134"/>
                  <a:pt x="210" y="134"/>
                  <a:pt x="210" y="134"/>
                </a:cubicBezTo>
                <a:cubicBezTo>
                  <a:pt x="211" y="134"/>
                  <a:pt x="210" y="135"/>
                  <a:pt x="209" y="134"/>
                </a:cubicBezTo>
                <a:cubicBezTo>
                  <a:pt x="210" y="137"/>
                  <a:pt x="210" y="145"/>
                  <a:pt x="207" y="146"/>
                </a:cubicBezTo>
                <a:cubicBezTo>
                  <a:pt x="206" y="146"/>
                  <a:pt x="207" y="147"/>
                  <a:pt x="207" y="147"/>
                </a:cubicBezTo>
                <a:cubicBezTo>
                  <a:pt x="207" y="148"/>
                  <a:pt x="207" y="146"/>
                  <a:pt x="206" y="146"/>
                </a:cubicBezTo>
                <a:cubicBezTo>
                  <a:pt x="205" y="148"/>
                  <a:pt x="203" y="148"/>
                  <a:pt x="202" y="149"/>
                </a:cubicBezTo>
                <a:cubicBezTo>
                  <a:pt x="201" y="149"/>
                  <a:pt x="201" y="148"/>
                  <a:pt x="201" y="148"/>
                </a:cubicBezTo>
                <a:cubicBezTo>
                  <a:pt x="200" y="149"/>
                  <a:pt x="200" y="149"/>
                  <a:pt x="198" y="149"/>
                </a:cubicBezTo>
                <a:cubicBezTo>
                  <a:pt x="199" y="150"/>
                  <a:pt x="197" y="150"/>
                  <a:pt x="196" y="150"/>
                </a:cubicBezTo>
                <a:cubicBezTo>
                  <a:pt x="196" y="150"/>
                  <a:pt x="196" y="151"/>
                  <a:pt x="196" y="151"/>
                </a:cubicBezTo>
                <a:cubicBezTo>
                  <a:pt x="191" y="151"/>
                  <a:pt x="182" y="154"/>
                  <a:pt x="179" y="150"/>
                </a:cubicBezTo>
                <a:cubicBezTo>
                  <a:pt x="178" y="151"/>
                  <a:pt x="177" y="152"/>
                  <a:pt x="176" y="151"/>
                </a:cubicBezTo>
                <a:cubicBezTo>
                  <a:pt x="176" y="151"/>
                  <a:pt x="176" y="151"/>
                  <a:pt x="176" y="151"/>
                </a:cubicBezTo>
                <a:cubicBezTo>
                  <a:pt x="176" y="152"/>
                  <a:pt x="174" y="150"/>
                  <a:pt x="173" y="152"/>
                </a:cubicBezTo>
                <a:cubicBezTo>
                  <a:pt x="173" y="151"/>
                  <a:pt x="173" y="151"/>
                  <a:pt x="173" y="151"/>
                </a:cubicBezTo>
                <a:cubicBezTo>
                  <a:pt x="173" y="151"/>
                  <a:pt x="172" y="151"/>
                  <a:pt x="172" y="151"/>
                </a:cubicBezTo>
                <a:cubicBezTo>
                  <a:pt x="173" y="152"/>
                  <a:pt x="170" y="153"/>
                  <a:pt x="169" y="152"/>
                </a:cubicBezTo>
                <a:cubicBezTo>
                  <a:pt x="170" y="153"/>
                  <a:pt x="168" y="153"/>
                  <a:pt x="167" y="153"/>
                </a:cubicBezTo>
                <a:cubicBezTo>
                  <a:pt x="167" y="152"/>
                  <a:pt x="166" y="152"/>
                  <a:pt x="166" y="151"/>
                </a:cubicBezTo>
                <a:cubicBezTo>
                  <a:pt x="165" y="152"/>
                  <a:pt x="166" y="153"/>
                  <a:pt x="165" y="152"/>
                </a:cubicBezTo>
                <a:cubicBezTo>
                  <a:pt x="162" y="155"/>
                  <a:pt x="150" y="151"/>
                  <a:pt x="146" y="155"/>
                </a:cubicBezTo>
                <a:cubicBezTo>
                  <a:pt x="147" y="156"/>
                  <a:pt x="147" y="156"/>
                  <a:pt x="146" y="156"/>
                </a:cubicBezTo>
                <a:cubicBezTo>
                  <a:pt x="146" y="157"/>
                  <a:pt x="147" y="157"/>
                  <a:pt x="146" y="158"/>
                </a:cubicBezTo>
                <a:cubicBezTo>
                  <a:pt x="147" y="158"/>
                  <a:pt x="147" y="158"/>
                  <a:pt x="147" y="160"/>
                </a:cubicBezTo>
                <a:cubicBezTo>
                  <a:pt x="147" y="160"/>
                  <a:pt x="147" y="159"/>
                  <a:pt x="146" y="159"/>
                </a:cubicBezTo>
                <a:cubicBezTo>
                  <a:pt x="146" y="160"/>
                  <a:pt x="149" y="162"/>
                  <a:pt x="147" y="161"/>
                </a:cubicBezTo>
                <a:cubicBezTo>
                  <a:pt x="150" y="163"/>
                  <a:pt x="151" y="168"/>
                  <a:pt x="152" y="170"/>
                </a:cubicBezTo>
                <a:cubicBezTo>
                  <a:pt x="152" y="171"/>
                  <a:pt x="152" y="170"/>
                  <a:pt x="151" y="171"/>
                </a:cubicBezTo>
                <a:cubicBezTo>
                  <a:pt x="151" y="171"/>
                  <a:pt x="153" y="173"/>
                  <a:pt x="151" y="173"/>
                </a:cubicBezTo>
                <a:cubicBezTo>
                  <a:pt x="152" y="173"/>
                  <a:pt x="152" y="173"/>
                  <a:pt x="152" y="173"/>
                </a:cubicBezTo>
                <a:cubicBezTo>
                  <a:pt x="152" y="173"/>
                  <a:pt x="152" y="173"/>
                  <a:pt x="152" y="173"/>
                </a:cubicBezTo>
                <a:cubicBezTo>
                  <a:pt x="153" y="173"/>
                  <a:pt x="153" y="173"/>
                  <a:pt x="153" y="174"/>
                </a:cubicBezTo>
                <a:cubicBezTo>
                  <a:pt x="153" y="174"/>
                  <a:pt x="153" y="173"/>
                  <a:pt x="154" y="173"/>
                </a:cubicBezTo>
                <a:cubicBezTo>
                  <a:pt x="156" y="175"/>
                  <a:pt x="155" y="177"/>
                  <a:pt x="156" y="180"/>
                </a:cubicBezTo>
                <a:cubicBezTo>
                  <a:pt x="156" y="180"/>
                  <a:pt x="156" y="180"/>
                  <a:pt x="155" y="180"/>
                </a:cubicBezTo>
                <a:cubicBezTo>
                  <a:pt x="157" y="181"/>
                  <a:pt x="159" y="183"/>
                  <a:pt x="158" y="185"/>
                </a:cubicBezTo>
                <a:cubicBezTo>
                  <a:pt x="159" y="185"/>
                  <a:pt x="159" y="188"/>
                  <a:pt x="160" y="188"/>
                </a:cubicBezTo>
                <a:cubicBezTo>
                  <a:pt x="159" y="189"/>
                  <a:pt x="159" y="189"/>
                  <a:pt x="158" y="189"/>
                </a:cubicBezTo>
                <a:cubicBezTo>
                  <a:pt x="158" y="189"/>
                  <a:pt x="158" y="189"/>
                  <a:pt x="158" y="189"/>
                </a:cubicBezTo>
                <a:cubicBezTo>
                  <a:pt x="153" y="190"/>
                  <a:pt x="151" y="185"/>
                  <a:pt x="148" y="184"/>
                </a:cubicBezTo>
                <a:cubicBezTo>
                  <a:pt x="148" y="184"/>
                  <a:pt x="148" y="183"/>
                  <a:pt x="147" y="182"/>
                </a:cubicBezTo>
                <a:cubicBezTo>
                  <a:pt x="147" y="183"/>
                  <a:pt x="147" y="183"/>
                  <a:pt x="148" y="183"/>
                </a:cubicBezTo>
                <a:cubicBezTo>
                  <a:pt x="148" y="183"/>
                  <a:pt x="147" y="182"/>
                  <a:pt x="147" y="182"/>
                </a:cubicBezTo>
                <a:cubicBezTo>
                  <a:pt x="143" y="182"/>
                  <a:pt x="141" y="178"/>
                  <a:pt x="138" y="177"/>
                </a:cubicBezTo>
                <a:cubicBezTo>
                  <a:pt x="138" y="177"/>
                  <a:pt x="139" y="176"/>
                  <a:pt x="137" y="177"/>
                </a:cubicBezTo>
                <a:cubicBezTo>
                  <a:pt x="138" y="176"/>
                  <a:pt x="137" y="174"/>
                  <a:pt x="136" y="174"/>
                </a:cubicBezTo>
                <a:cubicBezTo>
                  <a:pt x="136" y="173"/>
                  <a:pt x="135" y="174"/>
                  <a:pt x="136" y="173"/>
                </a:cubicBezTo>
                <a:cubicBezTo>
                  <a:pt x="135" y="173"/>
                  <a:pt x="134" y="171"/>
                  <a:pt x="133" y="171"/>
                </a:cubicBezTo>
                <a:cubicBezTo>
                  <a:pt x="132" y="172"/>
                  <a:pt x="131" y="171"/>
                  <a:pt x="130" y="172"/>
                </a:cubicBezTo>
                <a:cubicBezTo>
                  <a:pt x="127" y="170"/>
                  <a:pt x="123" y="167"/>
                  <a:pt x="121" y="165"/>
                </a:cubicBezTo>
                <a:cubicBezTo>
                  <a:pt x="120" y="165"/>
                  <a:pt x="121" y="165"/>
                  <a:pt x="121" y="165"/>
                </a:cubicBezTo>
                <a:cubicBezTo>
                  <a:pt x="119" y="163"/>
                  <a:pt x="115" y="160"/>
                  <a:pt x="112" y="157"/>
                </a:cubicBezTo>
                <a:cubicBezTo>
                  <a:pt x="109" y="158"/>
                  <a:pt x="106" y="156"/>
                  <a:pt x="104" y="154"/>
                </a:cubicBezTo>
                <a:cubicBezTo>
                  <a:pt x="102" y="155"/>
                  <a:pt x="99" y="155"/>
                  <a:pt x="98" y="153"/>
                </a:cubicBezTo>
                <a:cubicBezTo>
                  <a:pt x="96" y="153"/>
                  <a:pt x="96" y="154"/>
                  <a:pt x="95" y="154"/>
                </a:cubicBezTo>
                <a:cubicBezTo>
                  <a:pt x="95" y="154"/>
                  <a:pt x="95" y="154"/>
                  <a:pt x="96" y="154"/>
                </a:cubicBezTo>
                <a:cubicBezTo>
                  <a:pt x="96" y="154"/>
                  <a:pt x="95" y="154"/>
                  <a:pt x="95" y="154"/>
                </a:cubicBezTo>
                <a:cubicBezTo>
                  <a:pt x="91" y="157"/>
                  <a:pt x="88" y="155"/>
                  <a:pt x="84" y="156"/>
                </a:cubicBezTo>
                <a:cubicBezTo>
                  <a:pt x="84" y="155"/>
                  <a:pt x="82" y="153"/>
                  <a:pt x="81" y="152"/>
                </a:cubicBezTo>
                <a:cubicBezTo>
                  <a:pt x="80" y="152"/>
                  <a:pt x="80" y="153"/>
                  <a:pt x="79" y="153"/>
                </a:cubicBezTo>
                <a:cubicBezTo>
                  <a:pt x="79" y="154"/>
                  <a:pt x="77" y="155"/>
                  <a:pt x="76" y="155"/>
                </a:cubicBezTo>
                <a:cubicBezTo>
                  <a:pt x="76" y="156"/>
                  <a:pt x="74" y="155"/>
                  <a:pt x="73" y="156"/>
                </a:cubicBezTo>
                <a:cubicBezTo>
                  <a:pt x="73" y="154"/>
                  <a:pt x="71" y="155"/>
                  <a:pt x="71" y="153"/>
                </a:cubicBezTo>
                <a:cubicBezTo>
                  <a:pt x="70" y="153"/>
                  <a:pt x="71" y="154"/>
                  <a:pt x="70" y="154"/>
                </a:cubicBezTo>
                <a:cubicBezTo>
                  <a:pt x="70" y="154"/>
                  <a:pt x="70" y="153"/>
                  <a:pt x="70" y="154"/>
                </a:cubicBezTo>
                <a:cubicBezTo>
                  <a:pt x="69" y="153"/>
                  <a:pt x="70" y="153"/>
                  <a:pt x="69" y="152"/>
                </a:cubicBezTo>
                <a:cubicBezTo>
                  <a:pt x="64" y="155"/>
                  <a:pt x="60" y="153"/>
                  <a:pt x="54" y="152"/>
                </a:cubicBezTo>
                <a:cubicBezTo>
                  <a:pt x="55" y="153"/>
                  <a:pt x="53" y="151"/>
                  <a:pt x="53" y="153"/>
                </a:cubicBezTo>
                <a:cubicBezTo>
                  <a:pt x="49" y="151"/>
                  <a:pt x="48" y="154"/>
                  <a:pt x="43" y="153"/>
                </a:cubicBezTo>
                <a:cubicBezTo>
                  <a:pt x="41" y="153"/>
                  <a:pt x="38" y="152"/>
                  <a:pt x="36" y="153"/>
                </a:cubicBezTo>
                <a:cubicBezTo>
                  <a:pt x="35" y="151"/>
                  <a:pt x="32" y="153"/>
                  <a:pt x="30" y="153"/>
                </a:cubicBezTo>
                <a:cubicBezTo>
                  <a:pt x="30" y="153"/>
                  <a:pt x="30" y="153"/>
                  <a:pt x="30" y="152"/>
                </a:cubicBezTo>
                <a:cubicBezTo>
                  <a:pt x="25" y="151"/>
                  <a:pt x="18" y="156"/>
                  <a:pt x="13" y="150"/>
                </a:cubicBezTo>
                <a:cubicBezTo>
                  <a:pt x="12" y="150"/>
                  <a:pt x="12" y="151"/>
                  <a:pt x="11" y="151"/>
                </a:cubicBezTo>
                <a:cubicBezTo>
                  <a:pt x="10" y="151"/>
                  <a:pt x="9" y="150"/>
                  <a:pt x="9" y="150"/>
                </a:cubicBezTo>
                <a:cubicBezTo>
                  <a:pt x="8" y="149"/>
                  <a:pt x="6" y="147"/>
                  <a:pt x="6" y="145"/>
                </a:cubicBezTo>
                <a:cubicBezTo>
                  <a:pt x="7" y="143"/>
                  <a:pt x="6" y="141"/>
                  <a:pt x="4" y="141"/>
                </a:cubicBezTo>
                <a:cubicBezTo>
                  <a:pt x="5" y="141"/>
                  <a:pt x="3" y="139"/>
                  <a:pt x="4" y="139"/>
                </a:cubicBezTo>
                <a:cubicBezTo>
                  <a:pt x="3" y="139"/>
                  <a:pt x="3" y="136"/>
                  <a:pt x="2" y="137"/>
                </a:cubicBezTo>
                <a:cubicBezTo>
                  <a:pt x="3" y="133"/>
                  <a:pt x="3" y="131"/>
                  <a:pt x="3" y="126"/>
                </a:cubicBezTo>
                <a:cubicBezTo>
                  <a:pt x="3" y="126"/>
                  <a:pt x="2" y="126"/>
                  <a:pt x="2" y="126"/>
                </a:cubicBezTo>
                <a:cubicBezTo>
                  <a:pt x="2" y="125"/>
                  <a:pt x="1" y="125"/>
                  <a:pt x="2" y="124"/>
                </a:cubicBezTo>
                <a:cubicBezTo>
                  <a:pt x="3" y="122"/>
                  <a:pt x="0" y="119"/>
                  <a:pt x="2" y="116"/>
                </a:cubicBezTo>
                <a:cubicBezTo>
                  <a:pt x="1" y="117"/>
                  <a:pt x="2" y="116"/>
                  <a:pt x="1" y="116"/>
                </a:cubicBezTo>
                <a:cubicBezTo>
                  <a:pt x="1" y="115"/>
                  <a:pt x="2" y="116"/>
                  <a:pt x="2" y="116"/>
                </a:cubicBezTo>
                <a:cubicBezTo>
                  <a:pt x="2" y="116"/>
                  <a:pt x="3" y="114"/>
                  <a:pt x="2" y="114"/>
                </a:cubicBezTo>
                <a:cubicBezTo>
                  <a:pt x="2" y="113"/>
                  <a:pt x="3" y="114"/>
                  <a:pt x="3" y="114"/>
                </a:cubicBezTo>
                <a:cubicBezTo>
                  <a:pt x="3" y="114"/>
                  <a:pt x="3" y="113"/>
                  <a:pt x="3" y="112"/>
                </a:cubicBezTo>
                <a:cubicBezTo>
                  <a:pt x="4" y="113"/>
                  <a:pt x="3" y="112"/>
                  <a:pt x="4" y="112"/>
                </a:cubicBezTo>
                <a:cubicBezTo>
                  <a:pt x="3" y="110"/>
                  <a:pt x="3" y="109"/>
                  <a:pt x="2" y="108"/>
                </a:cubicBezTo>
                <a:cubicBezTo>
                  <a:pt x="2" y="108"/>
                  <a:pt x="2" y="108"/>
                  <a:pt x="1" y="108"/>
                </a:cubicBezTo>
                <a:cubicBezTo>
                  <a:pt x="2" y="107"/>
                  <a:pt x="1" y="107"/>
                  <a:pt x="1" y="106"/>
                </a:cubicBezTo>
                <a:cubicBezTo>
                  <a:pt x="1" y="106"/>
                  <a:pt x="1" y="106"/>
                  <a:pt x="2" y="106"/>
                </a:cubicBezTo>
                <a:cubicBezTo>
                  <a:pt x="1" y="106"/>
                  <a:pt x="1" y="106"/>
                  <a:pt x="1" y="106"/>
                </a:cubicBezTo>
                <a:cubicBezTo>
                  <a:pt x="1" y="105"/>
                  <a:pt x="2" y="105"/>
                  <a:pt x="2" y="105"/>
                </a:cubicBezTo>
                <a:cubicBezTo>
                  <a:pt x="2" y="104"/>
                  <a:pt x="2" y="104"/>
                  <a:pt x="1" y="104"/>
                </a:cubicBezTo>
                <a:cubicBezTo>
                  <a:pt x="1" y="102"/>
                  <a:pt x="3" y="101"/>
                  <a:pt x="1" y="101"/>
                </a:cubicBezTo>
                <a:cubicBezTo>
                  <a:pt x="1" y="100"/>
                  <a:pt x="2" y="100"/>
                  <a:pt x="2" y="99"/>
                </a:cubicBezTo>
                <a:cubicBezTo>
                  <a:pt x="1" y="100"/>
                  <a:pt x="1" y="100"/>
                  <a:pt x="1" y="100"/>
                </a:cubicBezTo>
                <a:cubicBezTo>
                  <a:pt x="1" y="100"/>
                  <a:pt x="1" y="100"/>
                  <a:pt x="1" y="99"/>
                </a:cubicBezTo>
                <a:cubicBezTo>
                  <a:pt x="2" y="99"/>
                  <a:pt x="2" y="99"/>
                  <a:pt x="1" y="98"/>
                </a:cubicBezTo>
                <a:cubicBezTo>
                  <a:pt x="3" y="99"/>
                  <a:pt x="1" y="97"/>
                  <a:pt x="2" y="97"/>
                </a:cubicBezTo>
                <a:cubicBezTo>
                  <a:pt x="2" y="97"/>
                  <a:pt x="2" y="97"/>
                  <a:pt x="2" y="97"/>
                </a:cubicBezTo>
                <a:cubicBezTo>
                  <a:pt x="3" y="96"/>
                  <a:pt x="1" y="96"/>
                  <a:pt x="3" y="96"/>
                </a:cubicBezTo>
                <a:cubicBezTo>
                  <a:pt x="2" y="95"/>
                  <a:pt x="3" y="94"/>
                  <a:pt x="2" y="94"/>
                </a:cubicBezTo>
                <a:cubicBezTo>
                  <a:pt x="3" y="94"/>
                  <a:pt x="2" y="93"/>
                  <a:pt x="3" y="93"/>
                </a:cubicBezTo>
                <a:cubicBezTo>
                  <a:pt x="3" y="93"/>
                  <a:pt x="3" y="91"/>
                  <a:pt x="3" y="92"/>
                </a:cubicBezTo>
                <a:cubicBezTo>
                  <a:pt x="4" y="92"/>
                  <a:pt x="2" y="91"/>
                  <a:pt x="3" y="91"/>
                </a:cubicBezTo>
                <a:cubicBezTo>
                  <a:pt x="0" y="89"/>
                  <a:pt x="1" y="86"/>
                  <a:pt x="2" y="83"/>
                </a:cubicBezTo>
                <a:cubicBezTo>
                  <a:pt x="1" y="84"/>
                  <a:pt x="2" y="82"/>
                  <a:pt x="3" y="82"/>
                </a:cubicBezTo>
                <a:cubicBezTo>
                  <a:pt x="2" y="82"/>
                  <a:pt x="2" y="82"/>
                  <a:pt x="2" y="82"/>
                </a:cubicBezTo>
                <a:cubicBezTo>
                  <a:pt x="3" y="82"/>
                  <a:pt x="5" y="78"/>
                  <a:pt x="2" y="78"/>
                </a:cubicBezTo>
                <a:cubicBezTo>
                  <a:pt x="2" y="76"/>
                  <a:pt x="3" y="78"/>
                  <a:pt x="2" y="76"/>
                </a:cubicBezTo>
                <a:cubicBezTo>
                  <a:pt x="2" y="77"/>
                  <a:pt x="3" y="76"/>
                  <a:pt x="3" y="75"/>
                </a:cubicBezTo>
                <a:cubicBezTo>
                  <a:pt x="3" y="76"/>
                  <a:pt x="3" y="77"/>
                  <a:pt x="4" y="77"/>
                </a:cubicBezTo>
                <a:cubicBezTo>
                  <a:pt x="3" y="76"/>
                  <a:pt x="4" y="76"/>
                  <a:pt x="3" y="75"/>
                </a:cubicBezTo>
                <a:cubicBezTo>
                  <a:pt x="3" y="75"/>
                  <a:pt x="4" y="74"/>
                  <a:pt x="3" y="74"/>
                </a:cubicBezTo>
                <a:cubicBezTo>
                  <a:pt x="4" y="75"/>
                  <a:pt x="4" y="73"/>
                  <a:pt x="4" y="74"/>
                </a:cubicBezTo>
                <a:cubicBezTo>
                  <a:pt x="4" y="72"/>
                  <a:pt x="3" y="72"/>
                  <a:pt x="3" y="71"/>
                </a:cubicBezTo>
                <a:cubicBezTo>
                  <a:pt x="4" y="72"/>
                  <a:pt x="2" y="69"/>
                  <a:pt x="4" y="68"/>
                </a:cubicBezTo>
                <a:cubicBezTo>
                  <a:pt x="4" y="69"/>
                  <a:pt x="4" y="69"/>
                  <a:pt x="4" y="69"/>
                </a:cubicBezTo>
                <a:cubicBezTo>
                  <a:pt x="4" y="69"/>
                  <a:pt x="4" y="69"/>
                  <a:pt x="4" y="69"/>
                </a:cubicBezTo>
                <a:cubicBezTo>
                  <a:pt x="5" y="69"/>
                  <a:pt x="5" y="69"/>
                  <a:pt x="4" y="70"/>
                </a:cubicBezTo>
                <a:cubicBezTo>
                  <a:pt x="5" y="70"/>
                  <a:pt x="5" y="69"/>
                  <a:pt x="5" y="69"/>
                </a:cubicBezTo>
                <a:cubicBezTo>
                  <a:pt x="4" y="69"/>
                  <a:pt x="4" y="68"/>
                  <a:pt x="4" y="67"/>
                </a:cubicBezTo>
                <a:cubicBezTo>
                  <a:pt x="3" y="68"/>
                  <a:pt x="3" y="67"/>
                  <a:pt x="2" y="67"/>
                </a:cubicBezTo>
                <a:cubicBezTo>
                  <a:pt x="2" y="65"/>
                  <a:pt x="2" y="62"/>
                  <a:pt x="2" y="61"/>
                </a:cubicBezTo>
                <a:cubicBezTo>
                  <a:pt x="2" y="60"/>
                  <a:pt x="4" y="61"/>
                  <a:pt x="3" y="62"/>
                </a:cubicBezTo>
                <a:cubicBezTo>
                  <a:pt x="5" y="59"/>
                  <a:pt x="3" y="56"/>
                  <a:pt x="4" y="54"/>
                </a:cubicBezTo>
                <a:cubicBezTo>
                  <a:pt x="5" y="54"/>
                  <a:pt x="6" y="50"/>
                  <a:pt x="4" y="50"/>
                </a:cubicBezTo>
                <a:cubicBezTo>
                  <a:pt x="2" y="43"/>
                  <a:pt x="4" y="39"/>
                  <a:pt x="3" y="33"/>
                </a:cubicBezTo>
                <a:cubicBezTo>
                  <a:pt x="4" y="33"/>
                  <a:pt x="4" y="33"/>
                  <a:pt x="4" y="33"/>
                </a:cubicBezTo>
                <a:cubicBezTo>
                  <a:pt x="4" y="33"/>
                  <a:pt x="3" y="33"/>
                  <a:pt x="4" y="32"/>
                </a:cubicBezTo>
                <a:cubicBezTo>
                  <a:pt x="4" y="32"/>
                  <a:pt x="4" y="32"/>
                  <a:pt x="3" y="32"/>
                </a:cubicBezTo>
                <a:cubicBezTo>
                  <a:pt x="4" y="31"/>
                  <a:pt x="4" y="32"/>
                  <a:pt x="5" y="32"/>
                </a:cubicBezTo>
                <a:cubicBezTo>
                  <a:pt x="4" y="32"/>
                  <a:pt x="4" y="31"/>
                  <a:pt x="4" y="31"/>
                </a:cubicBezTo>
                <a:cubicBezTo>
                  <a:pt x="4" y="31"/>
                  <a:pt x="5" y="31"/>
                  <a:pt x="5" y="31"/>
                </a:cubicBezTo>
                <a:cubicBezTo>
                  <a:pt x="5" y="31"/>
                  <a:pt x="4" y="30"/>
                  <a:pt x="5" y="30"/>
                </a:cubicBezTo>
                <a:cubicBezTo>
                  <a:pt x="4" y="31"/>
                  <a:pt x="5" y="30"/>
                  <a:pt x="5" y="28"/>
                </a:cubicBezTo>
                <a:cubicBezTo>
                  <a:pt x="5" y="28"/>
                  <a:pt x="4" y="27"/>
                  <a:pt x="3" y="27"/>
                </a:cubicBezTo>
                <a:cubicBezTo>
                  <a:pt x="3" y="26"/>
                  <a:pt x="3" y="24"/>
                  <a:pt x="3" y="24"/>
                </a:cubicBezTo>
                <a:cubicBezTo>
                  <a:pt x="3" y="23"/>
                  <a:pt x="3" y="24"/>
                  <a:pt x="4" y="24"/>
                </a:cubicBezTo>
                <a:cubicBezTo>
                  <a:pt x="3" y="22"/>
                  <a:pt x="5" y="20"/>
                  <a:pt x="3" y="20"/>
                </a:cubicBezTo>
                <a:cubicBezTo>
                  <a:pt x="3" y="19"/>
                  <a:pt x="4" y="20"/>
                  <a:pt x="5" y="20"/>
                </a:cubicBezTo>
                <a:cubicBezTo>
                  <a:pt x="4" y="19"/>
                  <a:pt x="4" y="19"/>
                  <a:pt x="4" y="19"/>
                </a:cubicBezTo>
                <a:cubicBezTo>
                  <a:pt x="5" y="18"/>
                  <a:pt x="7" y="18"/>
                  <a:pt x="6" y="16"/>
                </a:cubicBezTo>
                <a:cubicBezTo>
                  <a:pt x="6" y="16"/>
                  <a:pt x="7" y="17"/>
                  <a:pt x="6" y="17"/>
                </a:cubicBezTo>
                <a:cubicBezTo>
                  <a:pt x="6" y="15"/>
                  <a:pt x="6" y="16"/>
                  <a:pt x="6" y="14"/>
                </a:cubicBezTo>
                <a:cubicBezTo>
                  <a:pt x="6" y="15"/>
                  <a:pt x="6" y="15"/>
                  <a:pt x="7" y="15"/>
                </a:cubicBezTo>
                <a:cubicBezTo>
                  <a:pt x="6" y="13"/>
                  <a:pt x="9" y="13"/>
                  <a:pt x="7" y="10"/>
                </a:cubicBezTo>
                <a:cubicBezTo>
                  <a:pt x="8" y="10"/>
                  <a:pt x="8" y="9"/>
                  <a:pt x="9" y="8"/>
                </a:cubicBezTo>
                <a:cubicBezTo>
                  <a:pt x="10" y="9"/>
                  <a:pt x="9" y="9"/>
                  <a:pt x="9" y="8"/>
                </a:cubicBezTo>
                <a:cubicBezTo>
                  <a:pt x="10" y="8"/>
                  <a:pt x="10" y="8"/>
                  <a:pt x="10" y="8"/>
                </a:cubicBezTo>
                <a:cubicBezTo>
                  <a:pt x="11" y="8"/>
                  <a:pt x="10" y="8"/>
                  <a:pt x="10" y="7"/>
                </a:cubicBezTo>
                <a:cubicBezTo>
                  <a:pt x="11" y="7"/>
                  <a:pt x="11" y="7"/>
                  <a:pt x="11" y="7"/>
                </a:cubicBezTo>
                <a:cubicBezTo>
                  <a:pt x="12" y="7"/>
                  <a:pt x="12" y="7"/>
                  <a:pt x="12" y="6"/>
                </a:cubicBezTo>
                <a:cubicBezTo>
                  <a:pt x="13" y="6"/>
                  <a:pt x="14" y="5"/>
                  <a:pt x="15" y="6"/>
                </a:cubicBezTo>
                <a:cubicBezTo>
                  <a:pt x="15" y="5"/>
                  <a:pt x="14" y="5"/>
                  <a:pt x="14" y="5"/>
                </a:cubicBezTo>
                <a:cubicBezTo>
                  <a:pt x="15" y="4"/>
                  <a:pt x="17" y="5"/>
                  <a:pt x="17" y="6"/>
                </a:cubicBezTo>
                <a:cubicBezTo>
                  <a:pt x="18" y="5"/>
                  <a:pt x="18" y="6"/>
                  <a:pt x="18" y="5"/>
                </a:cubicBezTo>
                <a:cubicBezTo>
                  <a:pt x="19" y="5"/>
                  <a:pt x="19" y="6"/>
                  <a:pt x="19" y="4"/>
                </a:cubicBezTo>
                <a:cubicBezTo>
                  <a:pt x="20" y="4"/>
                  <a:pt x="21" y="5"/>
                  <a:pt x="21" y="4"/>
                </a:cubicBezTo>
                <a:cubicBezTo>
                  <a:pt x="22" y="4"/>
                  <a:pt x="21" y="5"/>
                  <a:pt x="22" y="5"/>
                </a:cubicBezTo>
                <a:cubicBezTo>
                  <a:pt x="22" y="5"/>
                  <a:pt x="21" y="5"/>
                  <a:pt x="22" y="4"/>
                </a:cubicBezTo>
                <a:cubicBezTo>
                  <a:pt x="22" y="4"/>
                  <a:pt x="22" y="5"/>
                  <a:pt x="23" y="4"/>
                </a:cubicBezTo>
                <a:cubicBezTo>
                  <a:pt x="27" y="5"/>
                  <a:pt x="32" y="0"/>
                  <a:pt x="35" y="4"/>
                </a:cubicBezTo>
                <a:cubicBezTo>
                  <a:pt x="37" y="3"/>
                  <a:pt x="40" y="2"/>
                  <a:pt x="43" y="3"/>
                </a:cubicBezTo>
                <a:cubicBezTo>
                  <a:pt x="44" y="2"/>
                  <a:pt x="47" y="3"/>
                  <a:pt x="48" y="2"/>
                </a:cubicBezTo>
                <a:cubicBezTo>
                  <a:pt x="48" y="3"/>
                  <a:pt x="51" y="3"/>
                  <a:pt x="51" y="4"/>
                </a:cubicBezTo>
                <a:cubicBezTo>
                  <a:pt x="53" y="4"/>
                  <a:pt x="54" y="2"/>
                  <a:pt x="55" y="4"/>
                </a:cubicBezTo>
                <a:cubicBezTo>
                  <a:pt x="55" y="3"/>
                  <a:pt x="55" y="3"/>
                  <a:pt x="56" y="3"/>
                </a:cubicBezTo>
                <a:cubicBezTo>
                  <a:pt x="56" y="3"/>
                  <a:pt x="55" y="3"/>
                  <a:pt x="55" y="4"/>
                </a:cubicBezTo>
                <a:cubicBezTo>
                  <a:pt x="56" y="3"/>
                  <a:pt x="56" y="3"/>
                  <a:pt x="56" y="3"/>
                </a:cubicBezTo>
                <a:cubicBezTo>
                  <a:pt x="56" y="3"/>
                  <a:pt x="57" y="3"/>
                  <a:pt x="58" y="4"/>
                </a:cubicBezTo>
                <a:cubicBezTo>
                  <a:pt x="60" y="2"/>
                  <a:pt x="61" y="3"/>
                  <a:pt x="63" y="3"/>
                </a:cubicBezTo>
                <a:cubicBezTo>
                  <a:pt x="63" y="1"/>
                  <a:pt x="67" y="4"/>
                  <a:pt x="67" y="2"/>
                </a:cubicBezTo>
                <a:cubicBezTo>
                  <a:pt x="69" y="3"/>
                  <a:pt x="71" y="2"/>
                  <a:pt x="73" y="2"/>
                </a:cubicBezTo>
                <a:cubicBezTo>
                  <a:pt x="73" y="2"/>
                  <a:pt x="73" y="2"/>
                  <a:pt x="73" y="2"/>
                </a:cubicBezTo>
                <a:cubicBezTo>
                  <a:pt x="75" y="3"/>
                  <a:pt x="78" y="1"/>
                  <a:pt x="80" y="2"/>
                </a:cubicBezTo>
                <a:cubicBezTo>
                  <a:pt x="81" y="0"/>
                  <a:pt x="90" y="1"/>
                  <a:pt x="93" y="1"/>
                </a:cubicBezTo>
                <a:cubicBezTo>
                  <a:pt x="94" y="0"/>
                  <a:pt x="99" y="2"/>
                  <a:pt x="100" y="1"/>
                </a:cubicBezTo>
                <a:cubicBezTo>
                  <a:pt x="101" y="2"/>
                  <a:pt x="102" y="2"/>
                  <a:pt x="102" y="3"/>
                </a:cubicBezTo>
                <a:cubicBezTo>
                  <a:pt x="103" y="3"/>
                  <a:pt x="103" y="4"/>
                  <a:pt x="104" y="2"/>
                </a:cubicBezTo>
                <a:cubicBezTo>
                  <a:pt x="104" y="2"/>
                  <a:pt x="104" y="3"/>
                  <a:pt x="104" y="3"/>
                </a:cubicBezTo>
                <a:cubicBezTo>
                  <a:pt x="105" y="1"/>
                  <a:pt x="107" y="1"/>
                  <a:pt x="109" y="1"/>
                </a:cubicBezTo>
                <a:cubicBezTo>
                  <a:pt x="109" y="1"/>
                  <a:pt x="108" y="1"/>
                  <a:pt x="109" y="2"/>
                </a:cubicBezTo>
                <a:cubicBezTo>
                  <a:pt x="110" y="2"/>
                  <a:pt x="109" y="1"/>
                  <a:pt x="109" y="1"/>
                </a:cubicBezTo>
                <a:cubicBezTo>
                  <a:pt x="110" y="1"/>
                  <a:pt x="110" y="2"/>
                  <a:pt x="110" y="1"/>
                </a:cubicBezTo>
                <a:cubicBezTo>
                  <a:pt x="113" y="4"/>
                  <a:pt x="115" y="1"/>
                  <a:pt x="119" y="1"/>
                </a:cubicBezTo>
                <a:cubicBezTo>
                  <a:pt x="119" y="1"/>
                  <a:pt x="122" y="1"/>
                  <a:pt x="124" y="1"/>
                </a:cubicBezTo>
                <a:cubicBezTo>
                  <a:pt x="123" y="0"/>
                  <a:pt x="124" y="1"/>
                  <a:pt x="124" y="1"/>
                </a:cubicBezTo>
                <a:close/>
                <a:moveTo>
                  <a:pt x="209" y="103"/>
                </a:moveTo>
                <a:cubicBezTo>
                  <a:pt x="208" y="104"/>
                  <a:pt x="210" y="102"/>
                  <a:pt x="209" y="103"/>
                </a:cubicBezTo>
                <a:close/>
                <a:moveTo>
                  <a:pt x="202" y="148"/>
                </a:moveTo>
                <a:cubicBezTo>
                  <a:pt x="201" y="149"/>
                  <a:pt x="203" y="147"/>
                  <a:pt x="202" y="148"/>
                </a:cubicBezTo>
                <a:close/>
                <a:moveTo>
                  <a:pt x="200" y="149"/>
                </a:moveTo>
                <a:cubicBezTo>
                  <a:pt x="199" y="150"/>
                  <a:pt x="201" y="148"/>
                  <a:pt x="200" y="149"/>
                </a:cubicBezTo>
                <a:close/>
                <a:moveTo>
                  <a:pt x="1" y="101"/>
                </a:moveTo>
                <a:cubicBezTo>
                  <a:pt x="1" y="101"/>
                  <a:pt x="1" y="101"/>
                  <a:pt x="1" y="101"/>
                </a:cubicBezTo>
                <a:close/>
                <a:moveTo>
                  <a:pt x="3" y="75"/>
                </a:moveTo>
                <a:cubicBezTo>
                  <a:pt x="3" y="75"/>
                  <a:pt x="3" y="75"/>
                  <a:pt x="3" y="75"/>
                </a:cubicBezTo>
                <a:close/>
                <a:moveTo>
                  <a:pt x="9" y="10"/>
                </a:moveTo>
                <a:cubicBezTo>
                  <a:pt x="9" y="9"/>
                  <a:pt x="8" y="10"/>
                  <a:pt x="9" y="10"/>
                </a:cubicBezTo>
                <a:close/>
                <a:moveTo>
                  <a:pt x="89" y="2"/>
                </a:moveTo>
                <a:cubicBezTo>
                  <a:pt x="89" y="2"/>
                  <a:pt x="89" y="2"/>
                  <a:pt x="89" y="2"/>
                </a:cubicBezTo>
                <a:close/>
                <a:moveTo>
                  <a:pt x="106" y="2"/>
                </a:moveTo>
                <a:cubicBezTo>
                  <a:pt x="106" y="3"/>
                  <a:pt x="106" y="2"/>
                  <a:pt x="106" y="2"/>
                </a:cubicBezTo>
                <a:close/>
                <a:moveTo>
                  <a:pt x="155" y="2"/>
                </a:moveTo>
                <a:cubicBezTo>
                  <a:pt x="156" y="3"/>
                  <a:pt x="155" y="2"/>
                  <a:pt x="155" y="2"/>
                </a:cubicBezTo>
                <a:close/>
                <a:moveTo>
                  <a:pt x="182" y="2"/>
                </a:moveTo>
                <a:cubicBezTo>
                  <a:pt x="182" y="3"/>
                  <a:pt x="181" y="2"/>
                  <a:pt x="182" y="2"/>
                </a:cubicBezTo>
                <a:close/>
                <a:moveTo>
                  <a:pt x="182" y="2"/>
                </a:moveTo>
                <a:cubicBezTo>
                  <a:pt x="182" y="3"/>
                  <a:pt x="182" y="2"/>
                  <a:pt x="182" y="2"/>
                </a:cubicBezTo>
                <a:close/>
                <a:moveTo>
                  <a:pt x="45" y="3"/>
                </a:moveTo>
                <a:cubicBezTo>
                  <a:pt x="45" y="3"/>
                  <a:pt x="45" y="3"/>
                  <a:pt x="45" y="3"/>
                </a:cubicBezTo>
                <a:close/>
                <a:moveTo>
                  <a:pt x="105" y="3"/>
                </a:moveTo>
                <a:cubicBezTo>
                  <a:pt x="106" y="3"/>
                  <a:pt x="105" y="3"/>
                  <a:pt x="105" y="3"/>
                </a:cubicBezTo>
                <a:close/>
                <a:moveTo>
                  <a:pt x="67" y="3"/>
                </a:moveTo>
                <a:cubicBezTo>
                  <a:pt x="67" y="3"/>
                  <a:pt x="67" y="3"/>
                  <a:pt x="67" y="3"/>
                </a:cubicBezTo>
                <a:close/>
                <a:moveTo>
                  <a:pt x="69" y="3"/>
                </a:moveTo>
                <a:cubicBezTo>
                  <a:pt x="69" y="3"/>
                  <a:pt x="69" y="3"/>
                  <a:pt x="69" y="3"/>
                </a:cubicBezTo>
                <a:close/>
                <a:moveTo>
                  <a:pt x="174" y="3"/>
                </a:moveTo>
                <a:cubicBezTo>
                  <a:pt x="174" y="3"/>
                  <a:pt x="174" y="3"/>
                  <a:pt x="174" y="3"/>
                </a:cubicBezTo>
                <a:close/>
                <a:moveTo>
                  <a:pt x="43" y="4"/>
                </a:moveTo>
                <a:cubicBezTo>
                  <a:pt x="44" y="4"/>
                  <a:pt x="43" y="3"/>
                  <a:pt x="43" y="4"/>
                </a:cubicBezTo>
                <a:close/>
                <a:moveTo>
                  <a:pt x="44" y="4"/>
                </a:moveTo>
                <a:cubicBezTo>
                  <a:pt x="44" y="4"/>
                  <a:pt x="44" y="3"/>
                  <a:pt x="44" y="4"/>
                </a:cubicBezTo>
                <a:close/>
                <a:moveTo>
                  <a:pt x="60" y="4"/>
                </a:moveTo>
                <a:cubicBezTo>
                  <a:pt x="60" y="4"/>
                  <a:pt x="60" y="3"/>
                  <a:pt x="60" y="4"/>
                </a:cubicBezTo>
                <a:close/>
                <a:moveTo>
                  <a:pt x="104" y="4"/>
                </a:moveTo>
                <a:cubicBezTo>
                  <a:pt x="104" y="4"/>
                  <a:pt x="104" y="3"/>
                  <a:pt x="104" y="4"/>
                </a:cubicBezTo>
                <a:close/>
                <a:moveTo>
                  <a:pt x="103" y="4"/>
                </a:moveTo>
                <a:cubicBezTo>
                  <a:pt x="103" y="4"/>
                  <a:pt x="103" y="4"/>
                  <a:pt x="103" y="4"/>
                </a:cubicBezTo>
                <a:close/>
                <a:moveTo>
                  <a:pt x="27" y="4"/>
                </a:moveTo>
                <a:cubicBezTo>
                  <a:pt x="27" y="4"/>
                  <a:pt x="27" y="4"/>
                  <a:pt x="27" y="4"/>
                </a:cubicBezTo>
                <a:close/>
                <a:moveTo>
                  <a:pt x="59" y="4"/>
                </a:moveTo>
                <a:cubicBezTo>
                  <a:pt x="59" y="4"/>
                  <a:pt x="59" y="4"/>
                  <a:pt x="59" y="4"/>
                </a:cubicBezTo>
                <a:close/>
                <a:moveTo>
                  <a:pt x="104" y="4"/>
                </a:moveTo>
                <a:cubicBezTo>
                  <a:pt x="104" y="4"/>
                  <a:pt x="104" y="4"/>
                  <a:pt x="104" y="4"/>
                </a:cubicBezTo>
                <a:close/>
                <a:moveTo>
                  <a:pt x="169" y="4"/>
                </a:moveTo>
                <a:cubicBezTo>
                  <a:pt x="170" y="4"/>
                  <a:pt x="169" y="4"/>
                  <a:pt x="169" y="4"/>
                </a:cubicBezTo>
                <a:close/>
                <a:moveTo>
                  <a:pt x="26" y="4"/>
                </a:moveTo>
                <a:cubicBezTo>
                  <a:pt x="26" y="5"/>
                  <a:pt x="26" y="4"/>
                  <a:pt x="26" y="4"/>
                </a:cubicBezTo>
                <a:close/>
                <a:moveTo>
                  <a:pt x="50" y="4"/>
                </a:moveTo>
                <a:cubicBezTo>
                  <a:pt x="51" y="5"/>
                  <a:pt x="50" y="4"/>
                  <a:pt x="50" y="4"/>
                </a:cubicBezTo>
                <a:close/>
                <a:moveTo>
                  <a:pt x="190" y="5"/>
                </a:moveTo>
                <a:cubicBezTo>
                  <a:pt x="190" y="5"/>
                  <a:pt x="190" y="5"/>
                  <a:pt x="190" y="5"/>
                </a:cubicBezTo>
                <a:close/>
                <a:moveTo>
                  <a:pt x="20" y="5"/>
                </a:moveTo>
                <a:cubicBezTo>
                  <a:pt x="20" y="5"/>
                  <a:pt x="20" y="5"/>
                  <a:pt x="20" y="5"/>
                </a:cubicBezTo>
                <a:close/>
                <a:moveTo>
                  <a:pt x="19" y="6"/>
                </a:moveTo>
                <a:cubicBezTo>
                  <a:pt x="19" y="6"/>
                  <a:pt x="19" y="6"/>
                  <a:pt x="19" y="6"/>
                </a:cubicBezTo>
                <a:close/>
                <a:moveTo>
                  <a:pt x="13" y="7"/>
                </a:moveTo>
                <a:cubicBezTo>
                  <a:pt x="13" y="7"/>
                  <a:pt x="12" y="6"/>
                  <a:pt x="13" y="7"/>
                </a:cubicBezTo>
                <a:close/>
                <a:moveTo>
                  <a:pt x="11" y="8"/>
                </a:moveTo>
                <a:cubicBezTo>
                  <a:pt x="11" y="8"/>
                  <a:pt x="11" y="8"/>
                  <a:pt x="11" y="8"/>
                </a:cubicBezTo>
                <a:close/>
                <a:moveTo>
                  <a:pt x="198" y="8"/>
                </a:moveTo>
                <a:cubicBezTo>
                  <a:pt x="199" y="8"/>
                  <a:pt x="198" y="8"/>
                  <a:pt x="198" y="8"/>
                </a:cubicBezTo>
                <a:close/>
                <a:moveTo>
                  <a:pt x="10" y="9"/>
                </a:moveTo>
                <a:cubicBezTo>
                  <a:pt x="10" y="9"/>
                  <a:pt x="10" y="9"/>
                  <a:pt x="10" y="9"/>
                </a:cubicBezTo>
                <a:close/>
                <a:moveTo>
                  <a:pt x="9" y="9"/>
                </a:moveTo>
                <a:cubicBezTo>
                  <a:pt x="9" y="10"/>
                  <a:pt x="9" y="9"/>
                  <a:pt x="9" y="9"/>
                </a:cubicBezTo>
                <a:close/>
                <a:moveTo>
                  <a:pt x="202" y="9"/>
                </a:moveTo>
                <a:cubicBezTo>
                  <a:pt x="203" y="10"/>
                  <a:pt x="202" y="9"/>
                  <a:pt x="202" y="9"/>
                </a:cubicBezTo>
                <a:close/>
                <a:moveTo>
                  <a:pt x="7" y="11"/>
                </a:moveTo>
                <a:cubicBezTo>
                  <a:pt x="8" y="11"/>
                  <a:pt x="7" y="10"/>
                  <a:pt x="7" y="11"/>
                </a:cubicBezTo>
                <a:close/>
                <a:moveTo>
                  <a:pt x="8" y="11"/>
                </a:moveTo>
                <a:cubicBezTo>
                  <a:pt x="8" y="11"/>
                  <a:pt x="8" y="10"/>
                  <a:pt x="8" y="11"/>
                </a:cubicBezTo>
                <a:close/>
                <a:moveTo>
                  <a:pt x="8" y="11"/>
                </a:moveTo>
                <a:cubicBezTo>
                  <a:pt x="8" y="11"/>
                  <a:pt x="8" y="11"/>
                  <a:pt x="8" y="11"/>
                </a:cubicBezTo>
                <a:close/>
                <a:moveTo>
                  <a:pt x="6" y="16"/>
                </a:moveTo>
                <a:cubicBezTo>
                  <a:pt x="6" y="16"/>
                  <a:pt x="6" y="16"/>
                  <a:pt x="6" y="16"/>
                </a:cubicBezTo>
                <a:close/>
                <a:moveTo>
                  <a:pt x="6" y="18"/>
                </a:moveTo>
                <a:cubicBezTo>
                  <a:pt x="7" y="18"/>
                  <a:pt x="6" y="18"/>
                  <a:pt x="6" y="18"/>
                </a:cubicBezTo>
                <a:close/>
                <a:moveTo>
                  <a:pt x="6" y="18"/>
                </a:moveTo>
                <a:cubicBezTo>
                  <a:pt x="6" y="19"/>
                  <a:pt x="6" y="17"/>
                  <a:pt x="6" y="18"/>
                </a:cubicBezTo>
                <a:close/>
                <a:moveTo>
                  <a:pt x="5" y="19"/>
                </a:moveTo>
                <a:cubicBezTo>
                  <a:pt x="5" y="19"/>
                  <a:pt x="5" y="19"/>
                  <a:pt x="5" y="19"/>
                </a:cubicBezTo>
                <a:close/>
                <a:moveTo>
                  <a:pt x="5" y="20"/>
                </a:moveTo>
                <a:cubicBezTo>
                  <a:pt x="5" y="20"/>
                  <a:pt x="5" y="20"/>
                  <a:pt x="5" y="20"/>
                </a:cubicBezTo>
                <a:close/>
                <a:moveTo>
                  <a:pt x="4" y="22"/>
                </a:moveTo>
                <a:cubicBezTo>
                  <a:pt x="5" y="22"/>
                  <a:pt x="4" y="22"/>
                  <a:pt x="4" y="22"/>
                </a:cubicBezTo>
                <a:close/>
                <a:moveTo>
                  <a:pt x="206" y="22"/>
                </a:moveTo>
                <a:cubicBezTo>
                  <a:pt x="207" y="22"/>
                  <a:pt x="206" y="22"/>
                  <a:pt x="206" y="22"/>
                </a:cubicBezTo>
                <a:close/>
                <a:moveTo>
                  <a:pt x="4" y="23"/>
                </a:moveTo>
                <a:cubicBezTo>
                  <a:pt x="4" y="23"/>
                  <a:pt x="4" y="23"/>
                  <a:pt x="4" y="23"/>
                </a:cubicBezTo>
                <a:close/>
                <a:moveTo>
                  <a:pt x="5" y="30"/>
                </a:moveTo>
                <a:cubicBezTo>
                  <a:pt x="5" y="30"/>
                  <a:pt x="5" y="30"/>
                  <a:pt x="5" y="30"/>
                </a:cubicBezTo>
                <a:close/>
                <a:moveTo>
                  <a:pt x="4" y="33"/>
                </a:moveTo>
                <a:cubicBezTo>
                  <a:pt x="5" y="33"/>
                  <a:pt x="4" y="33"/>
                  <a:pt x="4" y="33"/>
                </a:cubicBezTo>
                <a:close/>
                <a:moveTo>
                  <a:pt x="4" y="34"/>
                </a:moveTo>
                <a:cubicBezTo>
                  <a:pt x="5" y="34"/>
                  <a:pt x="4" y="33"/>
                  <a:pt x="4" y="34"/>
                </a:cubicBezTo>
                <a:close/>
                <a:moveTo>
                  <a:pt x="206" y="39"/>
                </a:moveTo>
                <a:cubicBezTo>
                  <a:pt x="206" y="39"/>
                  <a:pt x="206" y="39"/>
                  <a:pt x="206" y="39"/>
                </a:cubicBezTo>
                <a:close/>
                <a:moveTo>
                  <a:pt x="206" y="40"/>
                </a:moveTo>
                <a:cubicBezTo>
                  <a:pt x="207" y="40"/>
                  <a:pt x="206" y="40"/>
                  <a:pt x="206" y="40"/>
                </a:cubicBezTo>
                <a:close/>
                <a:moveTo>
                  <a:pt x="206" y="48"/>
                </a:moveTo>
                <a:cubicBezTo>
                  <a:pt x="207" y="48"/>
                  <a:pt x="206" y="47"/>
                  <a:pt x="206" y="48"/>
                </a:cubicBezTo>
                <a:close/>
                <a:moveTo>
                  <a:pt x="205" y="49"/>
                </a:moveTo>
                <a:cubicBezTo>
                  <a:pt x="206" y="49"/>
                  <a:pt x="205" y="49"/>
                  <a:pt x="205" y="49"/>
                </a:cubicBezTo>
                <a:close/>
                <a:moveTo>
                  <a:pt x="4" y="55"/>
                </a:moveTo>
                <a:cubicBezTo>
                  <a:pt x="5" y="55"/>
                  <a:pt x="4" y="55"/>
                  <a:pt x="4" y="55"/>
                </a:cubicBezTo>
                <a:close/>
                <a:moveTo>
                  <a:pt x="4" y="56"/>
                </a:moveTo>
                <a:cubicBezTo>
                  <a:pt x="5" y="56"/>
                  <a:pt x="4" y="56"/>
                  <a:pt x="4" y="56"/>
                </a:cubicBezTo>
                <a:close/>
                <a:moveTo>
                  <a:pt x="208" y="67"/>
                </a:moveTo>
                <a:cubicBezTo>
                  <a:pt x="208" y="67"/>
                  <a:pt x="208" y="67"/>
                  <a:pt x="208" y="67"/>
                </a:cubicBezTo>
                <a:close/>
                <a:moveTo>
                  <a:pt x="4" y="70"/>
                </a:moveTo>
                <a:cubicBezTo>
                  <a:pt x="5" y="73"/>
                  <a:pt x="3" y="69"/>
                  <a:pt x="4" y="70"/>
                </a:cubicBezTo>
                <a:close/>
                <a:moveTo>
                  <a:pt x="4" y="71"/>
                </a:moveTo>
                <a:cubicBezTo>
                  <a:pt x="5" y="71"/>
                  <a:pt x="4" y="70"/>
                  <a:pt x="4" y="71"/>
                </a:cubicBezTo>
                <a:close/>
                <a:moveTo>
                  <a:pt x="4" y="75"/>
                </a:moveTo>
                <a:cubicBezTo>
                  <a:pt x="5" y="75"/>
                  <a:pt x="4" y="74"/>
                  <a:pt x="4" y="75"/>
                </a:cubicBezTo>
                <a:close/>
                <a:moveTo>
                  <a:pt x="4" y="75"/>
                </a:moveTo>
                <a:cubicBezTo>
                  <a:pt x="4" y="75"/>
                  <a:pt x="4" y="75"/>
                  <a:pt x="4" y="75"/>
                </a:cubicBezTo>
                <a:close/>
                <a:moveTo>
                  <a:pt x="4" y="75"/>
                </a:moveTo>
                <a:cubicBezTo>
                  <a:pt x="5" y="75"/>
                  <a:pt x="4" y="75"/>
                  <a:pt x="4" y="75"/>
                </a:cubicBezTo>
                <a:close/>
                <a:moveTo>
                  <a:pt x="4" y="76"/>
                </a:moveTo>
                <a:cubicBezTo>
                  <a:pt x="4" y="76"/>
                  <a:pt x="4" y="76"/>
                  <a:pt x="4" y="76"/>
                </a:cubicBezTo>
                <a:close/>
                <a:moveTo>
                  <a:pt x="3" y="77"/>
                </a:moveTo>
                <a:cubicBezTo>
                  <a:pt x="3" y="77"/>
                  <a:pt x="3" y="77"/>
                  <a:pt x="3" y="77"/>
                </a:cubicBezTo>
                <a:close/>
                <a:moveTo>
                  <a:pt x="209" y="83"/>
                </a:moveTo>
                <a:cubicBezTo>
                  <a:pt x="209" y="83"/>
                  <a:pt x="208" y="83"/>
                  <a:pt x="209" y="83"/>
                </a:cubicBezTo>
                <a:close/>
                <a:moveTo>
                  <a:pt x="207" y="92"/>
                </a:moveTo>
                <a:cubicBezTo>
                  <a:pt x="207" y="93"/>
                  <a:pt x="207" y="92"/>
                  <a:pt x="207" y="92"/>
                </a:cubicBezTo>
                <a:close/>
                <a:moveTo>
                  <a:pt x="4" y="93"/>
                </a:moveTo>
                <a:cubicBezTo>
                  <a:pt x="4" y="93"/>
                  <a:pt x="4" y="93"/>
                  <a:pt x="4" y="93"/>
                </a:cubicBezTo>
                <a:close/>
                <a:moveTo>
                  <a:pt x="3" y="94"/>
                </a:moveTo>
                <a:cubicBezTo>
                  <a:pt x="4" y="94"/>
                  <a:pt x="3" y="94"/>
                  <a:pt x="3" y="94"/>
                </a:cubicBezTo>
                <a:close/>
                <a:moveTo>
                  <a:pt x="3" y="94"/>
                </a:moveTo>
                <a:cubicBezTo>
                  <a:pt x="3" y="94"/>
                  <a:pt x="3" y="94"/>
                  <a:pt x="3" y="94"/>
                </a:cubicBezTo>
                <a:close/>
                <a:moveTo>
                  <a:pt x="3" y="95"/>
                </a:moveTo>
                <a:cubicBezTo>
                  <a:pt x="3" y="95"/>
                  <a:pt x="3" y="95"/>
                  <a:pt x="3" y="95"/>
                </a:cubicBezTo>
                <a:close/>
                <a:moveTo>
                  <a:pt x="3" y="95"/>
                </a:moveTo>
                <a:cubicBezTo>
                  <a:pt x="3" y="95"/>
                  <a:pt x="2" y="95"/>
                  <a:pt x="3" y="95"/>
                </a:cubicBezTo>
                <a:close/>
                <a:moveTo>
                  <a:pt x="209" y="97"/>
                </a:moveTo>
                <a:cubicBezTo>
                  <a:pt x="209" y="98"/>
                  <a:pt x="208" y="97"/>
                  <a:pt x="209" y="97"/>
                </a:cubicBezTo>
                <a:close/>
                <a:moveTo>
                  <a:pt x="2" y="99"/>
                </a:moveTo>
                <a:cubicBezTo>
                  <a:pt x="2" y="100"/>
                  <a:pt x="2" y="98"/>
                  <a:pt x="2" y="99"/>
                </a:cubicBezTo>
                <a:close/>
                <a:moveTo>
                  <a:pt x="2" y="103"/>
                </a:moveTo>
                <a:cubicBezTo>
                  <a:pt x="2" y="103"/>
                  <a:pt x="2" y="103"/>
                  <a:pt x="2" y="103"/>
                </a:cubicBezTo>
                <a:close/>
                <a:moveTo>
                  <a:pt x="207" y="105"/>
                </a:moveTo>
                <a:cubicBezTo>
                  <a:pt x="207" y="105"/>
                  <a:pt x="207" y="104"/>
                  <a:pt x="207" y="105"/>
                </a:cubicBezTo>
                <a:close/>
                <a:moveTo>
                  <a:pt x="2" y="106"/>
                </a:moveTo>
                <a:cubicBezTo>
                  <a:pt x="2" y="106"/>
                  <a:pt x="1" y="106"/>
                  <a:pt x="2" y="106"/>
                </a:cubicBezTo>
                <a:close/>
                <a:moveTo>
                  <a:pt x="4" y="112"/>
                </a:moveTo>
                <a:cubicBezTo>
                  <a:pt x="4" y="113"/>
                  <a:pt x="4" y="112"/>
                  <a:pt x="4" y="112"/>
                </a:cubicBezTo>
                <a:close/>
                <a:moveTo>
                  <a:pt x="5" y="112"/>
                </a:moveTo>
                <a:cubicBezTo>
                  <a:pt x="5" y="113"/>
                  <a:pt x="5" y="112"/>
                  <a:pt x="5" y="112"/>
                </a:cubicBezTo>
                <a:close/>
                <a:moveTo>
                  <a:pt x="3" y="113"/>
                </a:moveTo>
                <a:cubicBezTo>
                  <a:pt x="4" y="113"/>
                  <a:pt x="3" y="113"/>
                  <a:pt x="3" y="113"/>
                </a:cubicBezTo>
                <a:close/>
                <a:moveTo>
                  <a:pt x="4" y="113"/>
                </a:moveTo>
                <a:cubicBezTo>
                  <a:pt x="4" y="113"/>
                  <a:pt x="4" y="113"/>
                  <a:pt x="4" y="113"/>
                </a:cubicBezTo>
                <a:close/>
                <a:moveTo>
                  <a:pt x="3" y="114"/>
                </a:moveTo>
                <a:cubicBezTo>
                  <a:pt x="4" y="114"/>
                  <a:pt x="3" y="114"/>
                  <a:pt x="3" y="114"/>
                </a:cubicBezTo>
                <a:close/>
                <a:moveTo>
                  <a:pt x="207" y="115"/>
                </a:moveTo>
                <a:cubicBezTo>
                  <a:pt x="208" y="116"/>
                  <a:pt x="208" y="114"/>
                  <a:pt x="207" y="115"/>
                </a:cubicBezTo>
                <a:close/>
                <a:moveTo>
                  <a:pt x="3" y="115"/>
                </a:moveTo>
                <a:cubicBezTo>
                  <a:pt x="3" y="115"/>
                  <a:pt x="3" y="115"/>
                  <a:pt x="3" y="115"/>
                </a:cubicBezTo>
                <a:close/>
                <a:moveTo>
                  <a:pt x="3" y="116"/>
                </a:moveTo>
                <a:cubicBezTo>
                  <a:pt x="3" y="116"/>
                  <a:pt x="2" y="116"/>
                  <a:pt x="3" y="116"/>
                </a:cubicBezTo>
                <a:close/>
                <a:moveTo>
                  <a:pt x="3" y="117"/>
                </a:moveTo>
                <a:cubicBezTo>
                  <a:pt x="3" y="117"/>
                  <a:pt x="2" y="117"/>
                  <a:pt x="3" y="117"/>
                </a:cubicBezTo>
                <a:close/>
                <a:moveTo>
                  <a:pt x="2" y="118"/>
                </a:moveTo>
                <a:cubicBezTo>
                  <a:pt x="2" y="118"/>
                  <a:pt x="2" y="118"/>
                  <a:pt x="2" y="118"/>
                </a:cubicBezTo>
                <a:close/>
                <a:moveTo>
                  <a:pt x="208" y="130"/>
                </a:moveTo>
                <a:cubicBezTo>
                  <a:pt x="208" y="130"/>
                  <a:pt x="208" y="130"/>
                  <a:pt x="208" y="130"/>
                </a:cubicBezTo>
                <a:close/>
                <a:moveTo>
                  <a:pt x="208" y="131"/>
                </a:moveTo>
                <a:cubicBezTo>
                  <a:pt x="208" y="131"/>
                  <a:pt x="208" y="131"/>
                  <a:pt x="208" y="131"/>
                </a:cubicBezTo>
                <a:close/>
                <a:moveTo>
                  <a:pt x="4" y="132"/>
                </a:moveTo>
                <a:cubicBezTo>
                  <a:pt x="4" y="132"/>
                  <a:pt x="4" y="132"/>
                  <a:pt x="4" y="132"/>
                </a:cubicBezTo>
                <a:close/>
                <a:moveTo>
                  <a:pt x="4" y="133"/>
                </a:moveTo>
                <a:cubicBezTo>
                  <a:pt x="4" y="133"/>
                  <a:pt x="4" y="132"/>
                  <a:pt x="4" y="133"/>
                </a:cubicBezTo>
                <a:close/>
                <a:moveTo>
                  <a:pt x="209" y="134"/>
                </a:moveTo>
                <a:cubicBezTo>
                  <a:pt x="209" y="134"/>
                  <a:pt x="209" y="134"/>
                  <a:pt x="209" y="134"/>
                </a:cubicBezTo>
                <a:close/>
                <a:moveTo>
                  <a:pt x="3" y="135"/>
                </a:moveTo>
                <a:cubicBezTo>
                  <a:pt x="3" y="135"/>
                  <a:pt x="3" y="135"/>
                  <a:pt x="3" y="135"/>
                </a:cubicBezTo>
                <a:close/>
                <a:moveTo>
                  <a:pt x="203" y="148"/>
                </a:moveTo>
                <a:cubicBezTo>
                  <a:pt x="203" y="148"/>
                  <a:pt x="203" y="148"/>
                  <a:pt x="203" y="148"/>
                </a:cubicBezTo>
                <a:close/>
                <a:moveTo>
                  <a:pt x="149" y="165"/>
                </a:moveTo>
                <a:cubicBezTo>
                  <a:pt x="150" y="166"/>
                  <a:pt x="150" y="164"/>
                  <a:pt x="149" y="165"/>
                </a:cubicBezTo>
                <a:close/>
                <a:moveTo>
                  <a:pt x="136" y="173"/>
                </a:moveTo>
                <a:cubicBezTo>
                  <a:pt x="137" y="174"/>
                  <a:pt x="135" y="172"/>
                  <a:pt x="136" y="173"/>
                </a:cubicBezTo>
                <a:close/>
                <a:moveTo>
                  <a:pt x="137" y="173"/>
                </a:moveTo>
                <a:cubicBezTo>
                  <a:pt x="137" y="174"/>
                  <a:pt x="137" y="173"/>
                  <a:pt x="137" y="173"/>
                </a:cubicBezTo>
                <a:close/>
                <a:moveTo>
                  <a:pt x="137" y="174"/>
                </a:moveTo>
                <a:cubicBezTo>
                  <a:pt x="137" y="174"/>
                  <a:pt x="136" y="174"/>
                  <a:pt x="137" y="174"/>
                </a:cubicBezTo>
                <a:close/>
                <a:moveTo>
                  <a:pt x="159" y="188"/>
                </a:moveTo>
                <a:cubicBezTo>
                  <a:pt x="159" y="189"/>
                  <a:pt x="159" y="188"/>
                  <a:pt x="159" y="188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>
                <a:solidFill>
                  <a:schemeClr val="bg1"/>
                </a:solidFill>
              </a:rPr>
              <a:t>Epic pass / Season Pass / Ikon Pass</a:t>
            </a:r>
          </a:p>
        </p:txBody>
      </p:sp>
      <p:sp>
        <p:nvSpPr>
          <p:cNvPr id="105" name="Freeform 97">
            <a:extLst>
              <a:ext uri="{FF2B5EF4-FFF2-40B4-BE49-F238E27FC236}">
                <a16:creationId xmlns:a16="http://schemas.microsoft.com/office/drawing/2014/main" id="{5749B5B4-D356-5BBA-9B2E-6B5542ADF593}"/>
              </a:ext>
            </a:extLst>
          </p:cNvPr>
          <p:cNvSpPr>
            <a:spLocks noChangeAspect="1"/>
          </p:cNvSpPr>
          <p:nvPr/>
        </p:nvSpPr>
        <p:spPr bwMode="auto">
          <a:xfrm flipH="1">
            <a:off x="6495810" y="4367884"/>
            <a:ext cx="1693191" cy="1076942"/>
          </a:xfrm>
          <a:custGeom>
            <a:avLst/>
            <a:gdLst>
              <a:gd name="T0" fmla="*/ 132 w 151"/>
              <a:gd name="T1" fmla="*/ 3 h 126"/>
              <a:gd name="T2" fmla="*/ 148 w 151"/>
              <a:gd name="T3" fmla="*/ 18 h 126"/>
              <a:gd name="T4" fmla="*/ 149 w 151"/>
              <a:gd name="T5" fmla="*/ 26 h 126"/>
              <a:gd name="T6" fmla="*/ 148 w 151"/>
              <a:gd name="T7" fmla="*/ 41 h 126"/>
              <a:gd name="T8" fmla="*/ 149 w 151"/>
              <a:gd name="T9" fmla="*/ 53 h 126"/>
              <a:gd name="T10" fmla="*/ 146 w 151"/>
              <a:gd name="T11" fmla="*/ 73 h 126"/>
              <a:gd name="T12" fmla="*/ 147 w 151"/>
              <a:gd name="T13" fmla="*/ 73 h 126"/>
              <a:gd name="T14" fmla="*/ 146 w 151"/>
              <a:gd name="T15" fmla="*/ 78 h 126"/>
              <a:gd name="T16" fmla="*/ 148 w 151"/>
              <a:gd name="T17" fmla="*/ 82 h 126"/>
              <a:gd name="T18" fmla="*/ 144 w 151"/>
              <a:gd name="T19" fmla="*/ 90 h 126"/>
              <a:gd name="T20" fmla="*/ 128 w 151"/>
              <a:gd name="T21" fmla="*/ 97 h 126"/>
              <a:gd name="T22" fmla="*/ 121 w 151"/>
              <a:gd name="T23" fmla="*/ 98 h 126"/>
              <a:gd name="T24" fmla="*/ 100 w 151"/>
              <a:gd name="T25" fmla="*/ 98 h 126"/>
              <a:gd name="T26" fmla="*/ 94 w 151"/>
              <a:gd name="T27" fmla="*/ 96 h 126"/>
              <a:gd name="T28" fmla="*/ 80 w 151"/>
              <a:gd name="T29" fmla="*/ 103 h 126"/>
              <a:gd name="T30" fmla="*/ 71 w 151"/>
              <a:gd name="T31" fmla="*/ 109 h 126"/>
              <a:gd name="T32" fmla="*/ 45 w 151"/>
              <a:gd name="T33" fmla="*/ 125 h 126"/>
              <a:gd name="T34" fmla="*/ 47 w 151"/>
              <a:gd name="T35" fmla="*/ 122 h 126"/>
              <a:gd name="T36" fmla="*/ 52 w 151"/>
              <a:gd name="T37" fmla="*/ 108 h 126"/>
              <a:gd name="T38" fmla="*/ 55 w 151"/>
              <a:gd name="T39" fmla="*/ 99 h 126"/>
              <a:gd name="T40" fmla="*/ 31 w 151"/>
              <a:gd name="T41" fmla="*/ 96 h 126"/>
              <a:gd name="T42" fmla="*/ 6 w 151"/>
              <a:gd name="T43" fmla="*/ 92 h 126"/>
              <a:gd name="T44" fmla="*/ 2 w 151"/>
              <a:gd name="T45" fmla="*/ 85 h 126"/>
              <a:gd name="T46" fmla="*/ 3 w 151"/>
              <a:gd name="T47" fmla="*/ 81 h 126"/>
              <a:gd name="T48" fmla="*/ 0 w 151"/>
              <a:gd name="T49" fmla="*/ 52 h 126"/>
              <a:gd name="T50" fmla="*/ 0 w 151"/>
              <a:gd name="T51" fmla="*/ 18 h 126"/>
              <a:gd name="T52" fmla="*/ 2 w 151"/>
              <a:gd name="T53" fmla="*/ 9 h 126"/>
              <a:gd name="T54" fmla="*/ 6 w 151"/>
              <a:gd name="T55" fmla="*/ 4 h 126"/>
              <a:gd name="T56" fmla="*/ 17 w 151"/>
              <a:gd name="T57" fmla="*/ 3 h 126"/>
              <a:gd name="T58" fmla="*/ 43 w 151"/>
              <a:gd name="T59" fmla="*/ 3 h 126"/>
              <a:gd name="T60" fmla="*/ 61 w 151"/>
              <a:gd name="T61" fmla="*/ 2 h 126"/>
              <a:gd name="T62" fmla="*/ 84 w 151"/>
              <a:gd name="T63" fmla="*/ 3 h 126"/>
              <a:gd name="T64" fmla="*/ 118 w 151"/>
              <a:gd name="T65" fmla="*/ 1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51" h="126">
                <a:moveTo>
                  <a:pt x="118" y="0"/>
                </a:moveTo>
                <a:cubicBezTo>
                  <a:pt x="123" y="2"/>
                  <a:pt x="127" y="1"/>
                  <a:pt x="132" y="3"/>
                </a:cubicBezTo>
                <a:cubicBezTo>
                  <a:pt x="132" y="1"/>
                  <a:pt x="136" y="6"/>
                  <a:pt x="137" y="3"/>
                </a:cubicBezTo>
                <a:cubicBezTo>
                  <a:pt x="144" y="5"/>
                  <a:pt x="146" y="14"/>
                  <a:pt x="148" y="18"/>
                </a:cubicBezTo>
                <a:cubicBezTo>
                  <a:pt x="147" y="21"/>
                  <a:pt x="148" y="23"/>
                  <a:pt x="148" y="25"/>
                </a:cubicBezTo>
                <a:cubicBezTo>
                  <a:pt x="148" y="26"/>
                  <a:pt x="149" y="25"/>
                  <a:pt x="149" y="26"/>
                </a:cubicBezTo>
                <a:cubicBezTo>
                  <a:pt x="151" y="28"/>
                  <a:pt x="149" y="29"/>
                  <a:pt x="148" y="32"/>
                </a:cubicBezTo>
                <a:cubicBezTo>
                  <a:pt x="149" y="35"/>
                  <a:pt x="149" y="38"/>
                  <a:pt x="148" y="41"/>
                </a:cubicBezTo>
                <a:cubicBezTo>
                  <a:pt x="150" y="43"/>
                  <a:pt x="151" y="44"/>
                  <a:pt x="148" y="46"/>
                </a:cubicBezTo>
                <a:cubicBezTo>
                  <a:pt x="148" y="48"/>
                  <a:pt x="148" y="52"/>
                  <a:pt x="149" y="53"/>
                </a:cubicBezTo>
                <a:cubicBezTo>
                  <a:pt x="147" y="59"/>
                  <a:pt x="148" y="65"/>
                  <a:pt x="147" y="73"/>
                </a:cubicBezTo>
                <a:cubicBezTo>
                  <a:pt x="147" y="73"/>
                  <a:pt x="146" y="73"/>
                  <a:pt x="146" y="73"/>
                </a:cubicBezTo>
                <a:cubicBezTo>
                  <a:pt x="146" y="73"/>
                  <a:pt x="147" y="74"/>
                  <a:pt x="147" y="74"/>
                </a:cubicBezTo>
                <a:cubicBezTo>
                  <a:pt x="147" y="74"/>
                  <a:pt x="147" y="74"/>
                  <a:pt x="147" y="73"/>
                </a:cubicBezTo>
                <a:cubicBezTo>
                  <a:pt x="148" y="74"/>
                  <a:pt x="148" y="78"/>
                  <a:pt x="146" y="77"/>
                </a:cubicBezTo>
                <a:cubicBezTo>
                  <a:pt x="146" y="77"/>
                  <a:pt x="146" y="78"/>
                  <a:pt x="146" y="78"/>
                </a:cubicBezTo>
                <a:cubicBezTo>
                  <a:pt x="146" y="79"/>
                  <a:pt x="147" y="78"/>
                  <a:pt x="148" y="79"/>
                </a:cubicBezTo>
                <a:cubicBezTo>
                  <a:pt x="147" y="79"/>
                  <a:pt x="148" y="81"/>
                  <a:pt x="148" y="82"/>
                </a:cubicBezTo>
                <a:cubicBezTo>
                  <a:pt x="144" y="84"/>
                  <a:pt x="146" y="88"/>
                  <a:pt x="143" y="88"/>
                </a:cubicBezTo>
                <a:cubicBezTo>
                  <a:pt x="144" y="89"/>
                  <a:pt x="142" y="90"/>
                  <a:pt x="144" y="90"/>
                </a:cubicBezTo>
                <a:cubicBezTo>
                  <a:pt x="142" y="92"/>
                  <a:pt x="141" y="94"/>
                  <a:pt x="139" y="95"/>
                </a:cubicBezTo>
                <a:cubicBezTo>
                  <a:pt x="135" y="97"/>
                  <a:pt x="132" y="96"/>
                  <a:pt x="128" y="97"/>
                </a:cubicBezTo>
                <a:cubicBezTo>
                  <a:pt x="127" y="97"/>
                  <a:pt x="126" y="96"/>
                  <a:pt x="125" y="96"/>
                </a:cubicBezTo>
                <a:cubicBezTo>
                  <a:pt x="123" y="97"/>
                  <a:pt x="123" y="98"/>
                  <a:pt x="121" y="98"/>
                </a:cubicBezTo>
                <a:cubicBezTo>
                  <a:pt x="119" y="96"/>
                  <a:pt x="116" y="95"/>
                  <a:pt x="113" y="97"/>
                </a:cubicBezTo>
                <a:cubicBezTo>
                  <a:pt x="110" y="94"/>
                  <a:pt x="103" y="95"/>
                  <a:pt x="100" y="98"/>
                </a:cubicBezTo>
                <a:cubicBezTo>
                  <a:pt x="98" y="97"/>
                  <a:pt x="97" y="96"/>
                  <a:pt x="95" y="95"/>
                </a:cubicBezTo>
                <a:cubicBezTo>
                  <a:pt x="95" y="95"/>
                  <a:pt x="95" y="96"/>
                  <a:pt x="94" y="96"/>
                </a:cubicBezTo>
                <a:cubicBezTo>
                  <a:pt x="93" y="97"/>
                  <a:pt x="90" y="96"/>
                  <a:pt x="90" y="98"/>
                </a:cubicBezTo>
                <a:cubicBezTo>
                  <a:pt x="86" y="98"/>
                  <a:pt x="83" y="103"/>
                  <a:pt x="80" y="103"/>
                </a:cubicBezTo>
                <a:cubicBezTo>
                  <a:pt x="78" y="105"/>
                  <a:pt x="74" y="106"/>
                  <a:pt x="73" y="109"/>
                </a:cubicBezTo>
                <a:cubicBezTo>
                  <a:pt x="72" y="108"/>
                  <a:pt x="72" y="109"/>
                  <a:pt x="71" y="109"/>
                </a:cubicBezTo>
                <a:cubicBezTo>
                  <a:pt x="66" y="115"/>
                  <a:pt x="56" y="117"/>
                  <a:pt x="51" y="125"/>
                </a:cubicBezTo>
                <a:cubicBezTo>
                  <a:pt x="50" y="124"/>
                  <a:pt x="47" y="126"/>
                  <a:pt x="45" y="125"/>
                </a:cubicBezTo>
                <a:cubicBezTo>
                  <a:pt x="45" y="124"/>
                  <a:pt x="46" y="123"/>
                  <a:pt x="47" y="121"/>
                </a:cubicBezTo>
                <a:cubicBezTo>
                  <a:pt x="47" y="122"/>
                  <a:pt x="46" y="122"/>
                  <a:pt x="47" y="122"/>
                </a:cubicBezTo>
                <a:cubicBezTo>
                  <a:pt x="48" y="121"/>
                  <a:pt x="47" y="117"/>
                  <a:pt x="49" y="118"/>
                </a:cubicBezTo>
                <a:cubicBezTo>
                  <a:pt x="49" y="115"/>
                  <a:pt x="52" y="112"/>
                  <a:pt x="52" y="108"/>
                </a:cubicBezTo>
                <a:cubicBezTo>
                  <a:pt x="55" y="105"/>
                  <a:pt x="55" y="103"/>
                  <a:pt x="57" y="99"/>
                </a:cubicBezTo>
                <a:cubicBezTo>
                  <a:pt x="56" y="99"/>
                  <a:pt x="56" y="99"/>
                  <a:pt x="55" y="99"/>
                </a:cubicBezTo>
                <a:cubicBezTo>
                  <a:pt x="53" y="96"/>
                  <a:pt x="44" y="95"/>
                  <a:pt x="40" y="98"/>
                </a:cubicBezTo>
                <a:cubicBezTo>
                  <a:pt x="38" y="96"/>
                  <a:pt x="33" y="98"/>
                  <a:pt x="31" y="96"/>
                </a:cubicBezTo>
                <a:cubicBezTo>
                  <a:pt x="27" y="98"/>
                  <a:pt x="20" y="96"/>
                  <a:pt x="17" y="98"/>
                </a:cubicBezTo>
                <a:cubicBezTo>
                  <a:pt x="14" y="95"/>
                  <a:pt x="10" y="96"/>
                  <a:pt x="6" y="92"/>
                </a:cubicBezTo>
                <a:cubicBezTo>
                  <a:pt x="6" y="90"/>
                  <a:pt x="6" y="90"/>
                  <a:pt x="4" y="89"/>
                </a:cubicBezTo>
                <a:cubicBezTo>
                  <a:pt x="6" y="88"/>
                  <a:pt x="4" y="86"/>
                  <a:pt x="2" y="85"/>
                </a:cubicBezTo>
                <a:cubicBezTo>
                  <a:pt x="3" y="84"/>
                  <a:pt x="2" y="82"/>
                  <a:pt x="2" y="81"/>
                </a:cubicBezTo>
                <a:cubicBezTo>
                  <a:pt x="3" y="82"/>
                  <a:pt x="2" y="80"/>
                  <a:pt x="3" y="81"/>
                </a:cubicBezTo>
                <a:cubicBezTo>
                  <a:pt x="1" y="73"/>
                  <a:pt x="2" y="64"/>
                  <a:pt x="1" y="54"/>
                </a:cubicBezTo>
                <a:cubicBezTo>
                  <a:pt x="1" y="53"/>
                  <a:pt x="1" y="53"/>
                  <a:pt x="0" y="52"/>
                </a:cubicBezTo>
                <a:cubicBezTo>
                  <a:pt x="0" y="52"/>
                  <a:pt x="1" y="52"/>
                  <a:pt x="1" y="52"/>
                </a:cubicBezTo>
                <a:cubicBezTo>
                  <a:pt x="2" y="38"/>
                  <a:pt x="0" y="31"/>
                  <a:pt x="0" y="18"/>
                </a:cubicBezTo>
                <a:cubicBezTo>
                  <a:pt x="0" y="18"/>
                  <a:pt x="1" y="17"/>
                  <a:pt x="0" y="17"/>
                </a:cubicBezTo>
                <a:cubicBezTo>
                  <a:pt x="0" y="15"/>
                  <a:pt x="2" y="12"/>
                  <a:pt x="2" y="9"/>
                </a:cubicBezTo>
                <a:cubicBezTo>
                  <a:pt x="3" y="7"/>
                  <a:pt x="4" y="5"/>
                  <a:pt x="6" y="5"/>
                </a:cubicBezTo>
                <a:cubicBezTo>
                  <a:pt x="6" y="5"/>
                  <a:pt x="6" y="4"/>
                  <a:pt x="6" y="4"/>
                </a:cubicBezTo>
                <a:cubicBezTo>
                  <a:pt x="10" y="3"/>
                  <a:pt x="16" y="4"/>
                  <a:pt x="17" y="2"/>
                </a:cubicBezTo>
                <a:cubicBezTo>
                  <a:pt x="18" y="2"/>
                  <a:pt x="17" y="2"/>
                  <a:pt x="17" y="3"/>
                </a:cubicBezTo>
                <a:cubicBezTo>
                  <a:pt x="18" y="2"/>
                  <a:pt x="19" y="1"/>
                  <a:pt x="20" y="3"/>
                </a:cubicBezTo>
                <a:cubicBezTo>
                  <a:pt x="29" y="2"/>
                  <a:pt x="35" y="1"/>
                  <a:pt x="43" y="3"/>
                </a:cubicBezTo>
                <a:cubicBezTo>
                  <a:pt x="44" y="1"/>
                  <a:pt x="47" y="2"/>
                  <a:pt x="47" y="1"/>
                </a:cubicBezTo>
                <a:cubicBezTo>
                  <a:pt x="51" y="2"/>
                  <a:pt x="59" y="2"/>
                  <a:pt x="61" y="2"/>
                </a:cubicBezTo>
                <a:cubicBezTo>
                  <a:pt x="68" y="4"/>
                  <a:pt x="78" y="2"/>
                  <a:pt x="84" y="3"/>
                </a:cubicBezTo>
                <a:cubicBezTo>
                  <a:pt x="84" y="3"/>
                  <a:pt x="84" y="3"/>
                  <a:pt x="84" y="3"/>
                </a:cubicBezTo>
                <a:cubicBezTo>
                  <a:pt x="88" y="2"/>
                  <a:pt x="91" y="4"/>
                  <a:pt x="95" y="2"/>
                </a:cubicBezTo>
                <a:cubicBezTo>
                  <a:pt x="101" y="2"/>
                  <a:pt x="112" y="1"/>
                  <a:pt x="118" y="1"/>
                </a:cubicBezTo>
                <a:cubicBezTo>
                  <a:pt x="118" y="1"/>
                  <a:pt x="118" y="1"/>
                  <a:pt x="118" y="0"/>
                </a:cubicBezTo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>
                <a:solidFill>
                  <a:schemeClr val="bg1"/>
                </a:solidFill>
              </a:rPr>
              <a:t>Jackson Hole, Park City, Winter Park</a:t>
            </a:r>
          </a:p>
        </p:txBody>
      </p: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63D8427A-43E0-717C-BD95-52C44069B431}"/>
              </a:ext>
            </a:extLst>
          </p:cNvPr>
          <p:cNvGrpSpPr/>
          <p:nvPr/>
        </p:nvGrpSpPr>
        <p:grpSpPr>
          <a:xfrm>
            <a:off x="10372000" y="4396688"/>
            <a:ext cx="1300750" cy="1354093"/>
            <a:chOff x="695245" y="-556248"/>
            <a:chExt cx="2997654" cy="1825428"/>
          </a:xfrm>
        </p:grpSpPr>
        <p:sp>
          <p:nvSpPr>
            <p:cNvPr id="107" name="Freeform 97">
              <a:extLst>
                <a:ext uri="{FF2B5EF4-FFF2-40B4-BE49-F238E27FC236}">
                  <a16:creationId xmlns:a16="http://schemas.microsoft.com/office/drawing/2014/main" id="{63F50244-82FD-67AA-5A0B-66B277B34FEF}"/>
                </a:ext>
              </a:extLst>
            </p:cNvPr>
            <p:cNvSpPr>
              <a:spLocks noChangeAspect="1"/>
            </p:cNvSpPr>
            <p:nvPr/>
          </p:nvSpPr>
          <p:spPr bwMode="auto">
            <a:xfrm flipH="1">
              <a:off x="695245" y="-556248"/>
              <a:ext cx="2342687" cy="1181185"/>
            </a:xfrm>
            <a:custGeom>
              <a:avLst/>
              <a:gdLst>
                <a:gd name="T0" fmla="*/ 132 w 151"/>
                <a:gd name="T1" fmla="*/ 3 h 126"/>
                <a:gd name="T2" fmla="*/ 148 w 151"/>
                <a:gd name="T3" fmla="*/ 18 h 126"/>
                <a:gd name="T4" fmla="*/ 149 w 151"/>
                <a:gd name="T5" fmla="*/ 26 h 126"/>
                <a:gd name="T6" fmla="*/ 148 w 151"/>
                <a:gd name="T7" fmla="*/ 41 h 126"/>
                <a:gd name="T8" fmla="*/ 149 w 151"/>
                <a:gd name="T9" fmla="*/ 53 h 126"/>
                <a:gd name="T10" fmla="*/ 146 w 151"/>
                <a:gd name="T11" fmla="*/ 73 h 126"/>
                <a:gd name="T12" fmla="*/ 147 w 151"/>
                <a:gd name="T13" fmla="*/ 73 h 126"/>
                <a:gd name="T14" fmla="*/ 146 w 151"/>
                <a:gd name="T15" fmla="*/ 78 h 126"/>
                <a:gd name="T16" fmla="*/ 148 w 151"/>
                <a:gd name="T17" fmla="*/ 82 h 126"/>
                <a:gd name="T18" fmla="*/ 144 w 151"/>
                <a:gd name="T19" fmla="*/ 90 h 126"/>
                <a:gd name="T20" fmla="*/ 128 w 151"/>
                <a:gd name="T21" fmla="*/ 97 h 126"/>
                <a:gd name="T22" fmla="*/ 121 w 151"/>
                <a:gd name="T23" fmla="*/ 98 h 126"/>
                <a:gd name="T24" fmla="*/ 100 w 151"/>
                <a:gd name="T25" fmla="*/ 98 h 126"/>
                <a:gd name="T26" fmla="*/ 94 w 151"/>
                <a:gd name="T27" fmla="*/ 96 h 126"/>
                <a:gd name="T28" fmla="*/ 80 w 151"/>
                <a:gd name="T29" fmla="*/ 103 h 126"/>
                <a:gd name="T30" fmla="*/ 71 w 151"/>
                <a:gd name="T31" fmla="*/ 109 h 126"/>
                <a:gd name="T32" fmla="*/ 45 w 151"/>
                <a:gd name="T33" fmla="*/ 125 h 126"/>
                <a:gd name="T34" fmla="*/ 47 w 151"/>
                <a:gd name="T35" fmla="*/ 122 h 126"/>
                <a:gd name="T36" fmla="*/ 52 w 151"/>
                <a:gd name="T37" fmla="*/ 108 h 126"/>
                <a:gd name="T38" fmla="*/ 55 w 151"/>
                <a:gd name="T39" fmla="*/ 99 h 126"/>
                <a:gd name="T40" fmla="*/ 31 w 151"/>
                <a:gd name="T41" fmla="*/ 96 h 126"/>
                <a:gd name="T42" fmla="*/ 6 w 151"/>
                <a:gd name="T43" fmla="*/ 92 h 126"/>
                <a:gd name="T44" fmla="*/ 2 w 151"/>
                <a:gd name="T45" fmla="*/ 85 h 126"/>
                <a:gd name="T46" fmla="*/ 3 w 151"/>
                <a:gd name="T47" fmla="*/ 81 h 126"/>
                <a:gd name="T48" fmla="*/ 0 w 151"/>
                <a:gd name="T49" fmla="*/ 52 h 126"/>
                <a:gd name="T50" fmla="*/ 0 w 151"/>
                <a:gd name="T51" fmla="*/ 18 h 126"/>
                <a:gd name="T52" fmla="*/ 2 w 151"/>
                <a:gd name="T53" fmla="*/ 9 h 126"/>
                <a:gd name="T54" fmla="*/ 6 w 151"/>
                <a:gd name="T55" fmla="*/ 4 h 126"/>
                <a:gd name="T56" fmla="*/ 17 w 151"/>
                <a:gd name="T57" fmla="*/ 3 h 126"/>
                <a:gd name="T58" fmla="*/ 43 w 151"/>
                <a:gd name="T59" fmla="*/ 3 h 126"/>
                <a:gd name="T60" fmla="*/ 61 w 151"/>
                <a:gd name="T61" fmla="*/ 2 h 126"/>
                <a:gd name="T62" fmla="*/ 84 w 151"/>
                <a:gd name="T63" fmla="*/ 3 h 126"/>
                <a:gd name="T64" fmla="*/ 118 w 151"/>
                <a:gd name="T65" fmla="*/ 1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1" h="126">
                  <a:moveTo>
                    <a:pt x="118" y="0"/>
                  </a:moveTo>
                  <a:cubicBezTo>
                    <a:pt x="123" y="2"/>
                    <a:pt x="127" y="1"/>
                    <a:pt x="132" y="3"/>
                  </a:cubicBezTo>
                  <a:cubicBezTo>
                    <a:pt x="132" y="1"/>
                    <a:pt x="136" y="6"/>
                    <a:pt x="137" y="3"/>
                  </a:cubicBezTo>
                  <a:cubicBezTo>
                    <a:pt x="144" y="5"/>
                    <a:pt x="146" y="14"/>
                    <a:pt x="148" y="18"/>
                  </a:cubicBezTo>
                  <a:cubicBezTo>
                    <a:pt x="147" y="21"/>
                    <a:pt x="148" y="23"/>
                    <a:pt x="148" y="25"/>
                  </a:cubicBezTo>
                  <a:cubicBezTo>
                    <a:pt x="148" y="26"/>
                    <a:pt x="149" y="25"/>
                    <a:pt x="149" y="26"/>
                  </a:cubicBezTo>
                  <a:cubicBezTo>
                    <a:pt x="151" y="28"/>
                    <a:pt x="149" y="29"/>
                    <a:pt x="148" y="32"/>
                  </a:cubicBezTo>
                  <a:cubicBezTo>
                    <a:pt x="149" y="35"/>
                    <a:pt x="149" y="38"/>
                    <a:pt x="148" y="41"/>
                  </a:cubicBezTo>
                  <a:cubicBezTo>
                    <a:pt x="150" y="43"/>
                    <a:pt x="151" y="44"/>
                    <a:pt x="148" y="46"/>
                  </a:cubicBezTo>
                  <a:cubicBezTo>
                    <a:pt x="148" y="48"/>
                    <a:pt x="148" y="52"/>
                    <a:pt x="149" y="53"/>
                  </a:cubicBezTo>
                  <a:cubicBezTo>
                    <a:pt x="147" y="59"/>
                    <a:pt x="148" y="65"/>
                    <a:pt x="147" y="73"/>
                  </a:cubicBezTo>
                  <a:cubicBezTo>
                    <a:pt x="147" y="73"/>
                    <a:pt x="146" y="73"/>
                    <a:pt x="146" y="73"/>
                  </a:cubicBezTo>
                  <a:cubicBezTo>
                    <a:pt x="146" y="73"/>
                    <a:pt x="147" y="74"/>
                    <a:pt x="147" y="74"/>
                  </a:cubicBezTo>
                  <a:cubicBezTo>
                    <a:pt x="147" y="74"/>
                    <a:pt x="147" y="74"/>
                    <a:pt x="147" y="73"/>
                  </a:cubicBezTo>
                  <a:cubicBezTo>
                    <a:pt x="148" y="74"/>
                    <a:pt x="148" y="78"/>
                    <a:pt x="146" y="77"/>
                  </a:cubicBezTo>
                  <a:cubicBezTo>
                    <a:pt x="146" y="77"/>
                    <a:pt x="146" y="78"/>
                    <a:pt x="146" y="78"/>
                  </a:cubicBezTo>
                  <a:cubicBezTo>
                    <a:pt x="146" y="79"/>
                    <a:pt x="147" y="78"/>
                    <a:pt x="148" y="79"/>
                  </a:cubicBezTo>
                  <a:cubicBezTo>
                    <a:pt x="147" y="79"/>
                    <a:pt x="148" y="81"/>
                    <a:pt x="148" y="82"/>
                  </a:cubicBezTo>
                  <a:cubicBezTo>
                    <a:pt x="144" y="84"/>
                    <a:pt x="146" y="88"/>
                    <a:pt x="143" y="88"/>
                  </a:cubicBezTo>
                  <a:cubicBezTo>
                    <a:pt x="144" y="89"/>
                    <a:pt x="142" y="90"/>
                    <a:pt x="144" y="90"/>
                  </a:cubicBezTo>
                  <a:cubicBezTo>
                    <a:pt x="142" y="92"/>
                    <a:pt x="141" y="94"/>
                    <a:pt x="139" y="95"/>
                  </a:cubicBezTo>
                  <a:cubicBezTo>
                    <a:pt x="135" y="97"/>
                    <a:pt x="132" y="96"/>
                    <a:pt x="128" y="97"/>
                  </a:cubicBezTo>
                  <a:cubicBezTo>
                    <a:pt x="127" y="97"/>
                    <a:pt x="126" y="96"/>
                    <a:pt x="125" y="96"/>
                  </a:cubicBezTo>
                  <a:cubicBezTo>
                    <a:pt x="123" y="97"/>
                    <a:pt x="123" y="98"/>
                    <a:pt x="121" y="98"/>
                  </a:cubicBezTo>
                  <a:cubicBezTo>
                    <a:pt x="119" y="96"/>
                    <a:pt x="116" y="95"/>
                    <a:pt x="113" y="97"/>
                  </a:cubicBezTo>
                  <a:cubicBezTo>
                    <a:pt x="110" y="94"/>
                    <a:pt x="103" y="95"/>
                    <a:pt x="100" y="98"/>
                  </a:cubicBezTo>
                  <a:cubicBezTo>
                    <a:pt x="98" y="97"/>
                    <a:pt x="97" y="96"/>
                    <a:pt x="95" y="95"/>
                  </a:cubicBezTo>
                  <a:cubicBezTo>
                    <a:pt x="95" y="95"/>
                    <a:pt x="95" y="96"/>
                    <a:pt x="94" y="96"/>
                  </a:cubicBezTo>
                  <a:cubicBezTo>
                    <a:pt x="93" y="97"/>
                    <a:pt x="90" y="96"/>
                    <a:pt x="90" y="98"/>
                  </a:cubicBezTo>
                  <a:cubicBezTo>
                    <a:pt x="86" y="98"/>
                    <a:pt x="83" y="103"/>
                    <a:pt x="80" y="103"/>
                  </a:cubicBezTo>
                  <a:cubicBezTo>
                    <a:pt x="78" y="105"/>
                    <a:pt x="74" y="106"/>
                    <a:pt x="73" y="109"/>
                  </a:cubicBezTo>
                  <a:cubicBezTo>
                    <a:pt x="72" y="108"/>
                    <a:pt x="72" y="109"/>
                    <a:pt x="71" y="109"/>
                  </a:cubicBezTo>
                  <a:cubicBezTo>
                    <a:pt x="66" y="115"/>
                    <a:pt x="56" y="117"/>
                    <a:pt x="51" y="125"/>
                  </a:cubicBezTo>
                  <a:cubicBezTo>
                    <a:pt x="50" y="124"/>
                    <a:pt x="47" y="126"/>
                    <a:pt x="45" y="125"/>
                  </a:cubicBezTo>
                  <a:cubicBezTo>
                    <a:pt x="45" y="124"/>
                    <a:pt x="46" y="123"/>
                    <a:pt x="47" y="121"/>
                  </a:cubicBezTo>
                  <a:cubicBezTo>
                    <a:pt x="47" y="122"/>
                    <a:pt x="46" y="122"/>
                    <a:pt x="47" y="122"/>
                  </a:cubicBezTo>
                  <a:cubicBezTo>
                    <a:pt x="48" y="121"/>
                    <a:pt x="47" y="117"/>
                    <a:pt x="49" y="118"/>
                  </a:cubicBezTo>
                  <a:cubicBezTo>
                    <a:pt x="49" y="115"/>
                    <a:pt x="52" y="112"/>
                    <a:pt x="52" y="108"/>
                  </a:cubicBezTo>
                  <a:cubicBezTo>
                    <a:pt x="55" y="105"/>
                    <a:pt x="55" y="103"/>
                    <a:pt x="57" y="99"/>
                  </a:cubicBezTo>
                  <a:cubicBezTo>
                    <a:pt x="56" y="99"/>
                    <a:pt x="56" y="99"/>
                    <a:pt x="55" y="99"/>
                  </a:cubicBezTo>
                  <a:cubicBezTo>
                    <a:pt x="53" y="96"/>
                    <a:pt x="44" y="95"/>
                    <a:pt x="40" y="98"/>
                  </a:cubicBezTo>
                  <a:cubicBezTo>
                    <a:pt x="38" y="96"/>
                    <a:pt x="33" y="98"/>
                    <a:pt x="31" y="96"/>
                  </a:cubicBezTo>
                  <a:cubicBezTo>
                    <a:pt x="27" y="98"/>
                    <a:pt x="20" y="96"/>
                    <a:pt x="17" y="98"/>
                  </a:cubicBezTo>
                  <a:cubicBezTo>
                    <a:pt x="14" y="95"/>
                    <a:pt x="10" y="96"/>
                    <a:pt x="6" y="92"/>
                  </a:cubicBezTo>
                  <a:cubicBezTo>
                    <a:pt x="6" y="90"/>
                    <a:pt x="6" y="90"/>
                    <a:pt x="4" y="89"/>
                  </a:cubicBezTo>
                  <a:cubicBezTo>
                    <a:pt x="6" y="88"/>
                    <a:pt x="4" y="86"/>
                    <a:pt x="2" y="85"/>
                  </a:cubicBezTo>
                  <a:cubicBezTo>
                    <a:pt x="3" y="84"/>
                    <a:pt x="2" y="82"/>
                    <a:pt x="2" y="81"/>
                  </a:cubicBezTo>
                  <a:cubicBezTo>
                    <a:pt x="3" y="82"/>
                    <a:pt x="2" y="80"/>
                    <a:pt x="3" y="81"/>
                  </a:cubicBezTo>
                  <a:cubicBezTo>
                    <a:pt x="1" y="73"/>
                    <a:pt x="2" y="64"/>
                    <a:pt x="1" y="54"/>
                  </a:cubicBezTo>
                  <a:cubicBezTo>
                    <a:pt x="1" y="53"/>
                    <a:pt x="1" y="53"/>
                    <a:pt x="0" y="52"/>
                  </a:cubicBezTo>
                  <a:cubicBezTo>
                    <a:pt x="0" y="52"/>
                    <a:pt x="1" y="52"/>
                    <a:pt x="1" y="52"/>
                  </a:cubicBezTo>
                  <a:cubicBezTo>
                    <a:pt x="2" y="38"/>
                    <a:pt x="0" y="31"/>
                    <a:pt x="0" y="18"/>
                  </a:cubicBezTo>
                  <a:cubicBezTo>
                    <a:pt x="0" y="18"/>
                    <a:pt x="1" y="17"/>
                    <a:pt x="0" y="17"/>
                  </a:cubicBezTo>
                  <a:cubicBezTo>
                    <a:pt x="0" y="15"/>
                    <a:pt x="2" y="12"/>
                    <a:pt x="2" y="9"/>
                  </a:cubicBezTo>
                  <a:cubicBezTo>
                    <a:pt x="3" y="7"/>
                    <a:pt x="4" y="5"/>
                    <a:pt x="6" y="5"/>
                  </a:cubicBezTo>
                  <a:cubicBezTo>
                    <a:pt x="6" y="5"/>
                    <a:pt x="6" y="4"/>
                    <a:pt x="6" y="4"/>
                  </a:cubicBezTo>
                  <a:cubicBezTo>
                    <a:pt x="10" y="3"/>
                    <a:pt x="16" y="4"/>
                    <a:pt x="17" y="2"/>
                  </a:cubicBezTo>
                  <a:cubicBezTo>
                    <a:pt x="18" y="2"/>
                    <a:pt x="17" y="2"/>
                    <a:pt x="17" y="3"/>
                  </a:cubicBezTo>
                  <a:cubicBezTo>
                    <a:pt x="18" y="2"/>
                    <a:pt x="19" y="1"/>
                    <a:pt x="20" y="3"/>
                  </a:cubicBezTo>
                  <a:cubicBezTo>
                    <a:pt x="29" y="2"/>
                    <a:pt x="35" y="1"/>
                    <a:pt x="43" y="3"/>
                  </a:cubicBezTo>
                  <a:cubicBezTo>
                    <a:pt x="44" y="1"/>
                    <a:pt x="47" y="2"/>
                    <a:pt x="47" y="1"/>
                  </a:cubicBezTo>
                  <a:cubicBezTo>
                    <a:pt x="51" y="2"/>
                    <a:pt x="59" y="2"/>
                    <a:pt x="61" y="2"/>
                  </a:cubicBezTo>
                  <a:cubicBezTo>
                    <a:pt x="68" y="4"/>
                    <a:pt x="78" y="2"/>
                    <a:pt x="84" y="3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8" y="2"/>
                    <a:pt x="91" y="4"/>
                    <a:pt x="95" y="2"/>
                  </a:cubicBezTo>
                  <a:cubicBezTo>
                    <a:pt x="101" y="2"/>
                    <a:pt x="112" y="1"/>
                    <a:pt x="118" y="1"/>
                  </a:cubicBezTo>
                  <a:cubicBezTo>
                    <a:pt x="118" y="1"/>
                    <a:pt x="118" y="1"/>
                    <a:pt x="118" y="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dirty="0">
                  <a:solidFill>
                    <a:schemeClr val="bg1"/>
                  </a:solidFill>
                </a:rPr>
                <a:t>best resort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C11AC7B5-58FD-031B-0377-13FBBFA9EAFE}"/>
                </a:ext>
              </a:extLst>
            </p:cNvPr>
            <p:cNvSpPr/>
            <p:nvPr/>
          </p:nvSpPr>
          <p:spPr>
            <a:xfrm>
              <a:off x="854046" y="938686"/>
              <a:ext cx="2838853" cy="330494"/>
            </a:xfrm>
            <a:prstGeom prst="rect">
              <a:avLst/>
            </a:prstGeom>
          </p:spPr>
          <p:txBody>
            <a:bodyPr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82A552F7-07E2-3977-3EE9-87F4059A36CE}"/>
              </a:ext>
            </a:extLst>
          </p:cNvPr>
          <p:cNvGrpSpPr/>
          <p:nvPr/>
        </p:nvGrpSpPr>
        <p:grpSpPr>
          <a:xfrm>
            <a:off x="8277640" y="5568428"/>
            <a:ext cx="1792544" cy="1403980"/>
            <a:chOff x="370117" y="-623500"/>
            <a:chExt cx="3322782" cy="1892680"/>
          </a:xfrm>
        </p:grpSpPr>
        <p:sp>
          <p:nvSpPr>
            <p:cNvPr id="112" name="Freeform 97">
              <a:extLst>
                <a:ext uri="{FF2B5EF4-FFF2-40B4-BE49-F238E27FC236}">
                  <a16:creationId xmlns:a16="http://schemas.microsoft.com/office/drawing/2014/main" id="{B9B2E006-C787-A25C-2393-99D63612CE2D}"/>
                </a:ext>
              </a:extLst>
            </p:cNvPr>
            <p:cNvSpPr>
              <a:spLocks noChangeAspect="1"/>
            </p:cNvSpPr>
            <p:nvPr/>
          </p:nvSpPr>
          <p:spPr bwMode="auto">
            <a:xfrm flipH="1">
              <a:off x="370117" y="-623500"/>
              <a:ext cx="2655213" cy="1181185"/>
            </a:xfrm>
            <a:custGeom>
              <a:avLst/>
              <a:gdLst>
                <a:gd name="T0" fmla="*/ 132 w 151"/>
                <a:gd name="T1" fmla="*/ 3 h 126"/>
                <a:gd name="T2" fmla="*/ 148 w 151"/>
                <a:gd name="T3" fmla="*/ 18 h 126"/>
                <a:gd name="T4" fmla="*/ 149 w 151"/>
                <a:gd name="T5" fmla="*/ 26 h 126"/>
                <a:gd name="T6" fmla="*/ 148 w 151"/>
                <a:gd name="T7" fmla="*/ 41 h 126"/>
                <a:gd name="T8" fmla="*/ 149 w 151"/>
                <a:gd name="T9" fmla="*/ 53 h 126"/>
                <a:gd name="T10" fmla="*/ 146 w 151"/>
                <a:gd name="T11" fmla="*/ 73 h 126"/>
                <a:gd name="T12" fmla="*/ 147 w 151"/>
                <a:gd name="T13" fmla="*/ 73 h 126"/>
                <a:gd name="T14" fmla="*/ 146 w 151"/>
                <a:gd name="T15" fmla="*/ 78 h 126"/>
                <a:gd name="T16" fmla="*/ 148 w 151"/>
                <a:gd name="T17" fmla="*/ 82 h 126"/>
                <a:gd name="T18" fmla="*/ 144 w 151"/>
                <a:gd name="T19" fmla="*/ 90 h 126"/>
                <a:gd name="T20" fmla="*/ 128 w 151"/>
                <a:gd name="T21" fmla="*/ 97 h 126"/>
                <a:gd name="T22" fmla="*/ 121 w 151"/>
                <a:gd name="T23" fmla="*/ 98 h 126"/>
                <a:gd name="T24" fmla="*/ 100 w 151"/>
                <a:gd name="T25" fmla="*/ 98 h 126"/>
                <a:gd name="T26" fmla="*/ 94 w 151"/>
                <a:gd name="T27" fmla="*/ 96 h 126"/>
                <a:gd name="T28" fmla="*/ 80 w 151"/>
                <a:gd name="T29" fmla="*/ 103 h 126"/>
                <a:gd name="T30" fmla="*/ 71 w 151"/>
                <a:gd name="T31" fmla="*/ 109 h 126"/>
                <a:gd name="T32" fmla="*/ 45 w 151"/>
                <a:gd name="T33" fmla="*/ 125 h 126"/>
                <a:gd name="T34" fmla="*/ 47 w 151"/>
                <a:gd name="T35" fmla="*/ 122 h 126"/>
                <a:gd name="T36" fmla="*/ 52 w 151"/>
                <a:gd name="T37" fmla="*/ 108 h 126"/>
                <a:gd name="T38" fmla="*/ 55 w 151"/>
                <a:gd name="T39" fmla="*/ 99 h 126"/>
                <a:gd name="T40" fmla="*/ 31 w 151"/>
                <a:gd name="T41" fmla="*/ 96 h 126"/>
                <a:gd name="T42" fmla="*/ 6 w 151"/>
                <a:gd name="T43" fmla="*/ 92 h 126"/>
                <a:gd name="T44" fmla="*/ 2 w 151"/>
                <a:gd name="T45" fmla="*/ 85 h 126"/>
                <a:gd name="T46" fmla="*/ 3 w 151"/>
                <a:gd name="T47" fmla="*/ 81 h 126"/>
                <a:gd name="T48" fmla="*/ 0 w 151"/>
                <a:gd name="T49" fmla="*/ 52 h 126"/>
                <a:gd name="T50" fmla="*/ 0 w 151"/>
                <a:gd name="T51" fmla="*/ 18 h 126"/>
                <a:gd name="T52" fmla="*/ 2 w 151"/>
                <a:gd name="T53" fmla="*/ 9 h 126"/>
                <a:gd name="T54" fmla="*/ 6 w 151"/>
                <a:gd name="T55" fmla="*/ 4 h 126"/>
                <a:gd name="T56" fmla="*/ 17 w 151"/>
                <a:gd name="T57" fmla="*/ 3 h 126"/>
                <a:gd name="T58" fmla="*/ 43 w 151"/>
                <a:gd name="T59" fmla="*/ 3 h 126"/>
                <a:gd name="T60" fmla="*/ 61 w 151"/>
                <a:gd name="T61" fmla="*/ 2 h 126"/>
                <a:gd name="T62" fmla="*/ 84 w 151"/>
                <a:gd name="T63" fmla="*/ 3 h 126"/>
                <a:gd name="T64" fmla="*/ 118 w 151"/>
                <a:gd name="T65" fmla="*/ 1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1" h="126">
                  <a:moveTo>
                    <a:pt x="118" y="0"/>
                  </a:moveTo>
                  <a:cubicBezTo>
                    <a:pt x="123" y="2"/>
                    <a:pt x="127" y="1"/>
                    <a:pt x="132" y="3"/>
                  </a:cubicBezTo>
                  <a:cubicBezTo>
                    <a:pt x="132" y="1"/>
                    <a:pt x="136" y="6"/>
                    <a:pt x="137" y="3"/>
                  </a:cubicBezTo>
                  <a:cubicBezTo>
                    <a:pt x="144" y="5"/>
                    <a:pt x="146" y="14"/>
                    <a:pt x="148" y="18"/>
                  </a:cubicBezTo>
                  <a:cubicBezTo>
                    <a:pt x="147" y="21"/>
                    <a:pt x="148" y="23"/>
                    <a:pt x="148" y="25"/>
                  </a:cubicBezTo>
                  <a:cubicBezTo>
                    <a:pt x="148" y="26"/>
                    <a:pt x="149" y="25"/>
                    <a:pt x="149" y="26"/>
                  </a:cubicBezTo>
                  <a:cubicBezTo>
                    <a:pt x="151" y="28"/>
                    <a:pt x="149" y="29"/>
                    <a:pt x="148" y="32"/>
                  </a:cubicBezTo>
                  <a:cubicBezTo>
                    <a:pt x="149" y="35"/>
                    <a:pt x="149" y="38"/>
                    <a:pt x="148" y="41"/>
                  </a:cubicBezTo>
                  <a:cubicBezTo>
                    <a:pt x="150" y="43"/>
                    <a:pt x="151" y="44"/>
                    <a:pt x="148" y="46"/>
                  </a:cubicBezTo>
                  <a:cubicBezTo>
                    <a:pt x="148" y="48"/>
                    <a:pt x="148" y="52"/>
                    <a:pt x="149" y="53"/>
                  </a:cubicBezTo>
                  <a:cubicBezTo>
                    <a:pt x="147" y="59"/>
                    <a:pt x="148" y="65"/>
                    <a:pt x="147" y="73"/>
                  </a:cubicBezTo>
                  <a:cubicBezTo>
                    <a:pt x="147" y="73"/>
                    <a:pt x="146" y="73"/>
                    <a:pt x="146" y="73"/>
                  </a:cubicBezTo>
                  <a:cubicBezTo>
                    <a:pt x="146" y="73"/>
                    <a:pt x="147" y="74"/>
                    <a:pt x="147" y="74"/>
                  </a:cubicBezTo>
                  <a:cubicBezTo>
                    <a:pt x="147" y="74"/>
                    <a:pt x="147" y="74"/>
                    <a:pt x="147" y="73"/>
                  </a:cubicBezTo>
                  <a:cubicBezTo>
                    <a:pt x="148" y="74"/>
                    <a:pt x="148" y="78"/>
                    <a:pt x="146" y="77"/>
                  </a:cubicBezTo>
                  <a:cubicBezTo>
                    <a:pt x="146" y="77"/>
                    <a:pt x="146" y="78"/>
                    <a:pt x="146" y="78"/>
                  </a:cubicBezTo>
                  <a:cubicBezTo>
                    <a:pt x="146" y="79"/>
                    <a:pt x="147" y="78"/>
                    <a:pt x="148" y="79"/>
                  </a:cubicBezTo>
                  <a:cubicBezTo>
                    <a:pt x="147" y="79"/>
                    <a:pt x="148" y="81"/>
                    <a:pt x="148" y="82"/>
                  </a:cubicBezTo>
                  <a:cubicBezTo>
                    <a:pt x="144" y="84"/>
                    <a:pt x="146" y="88"/>
                    <a:pt x="143" y="88"/>
                  </a:cubicBezTo>
                  <a:cubicBezTo>
                    <a:pt x="144" y="89"/>
                    <a:pt x="142" y="90"/>
                    <a:pt x="144" y="90"/>
                  </a:cubicBezTo>
                  <a:cubicBezTo>
                    <a:pt x="142" y="92"/>
                    <a:pt x="141" y="94"/>
                    <a:pt x="139" y="95"/>
                  </a:cubicBezTo>
                  <a:cubicBezTo>
                    <a:pt x="135" y="97"/>
                    <a:pt x="132" y="96"/>
                    <a:pt x="128" y="97"/>
                  </a:cubicBezTo>
                  <a:cubicBezTo>
                    <a:pt x="127" y="97"/>
                    <a:pt x="126" y="96"/>
                    <a:pt x="125" y="96"/>
                  </a:cubicBezTo>
                  <a:cubicBezTo>
                    <a:pt x="123" y="97"/>
                    <a:pt x="123" y="98"/>
                    <a:pt x="121" y="98"/>
                  </a:cubicBezTo>
                  <a:cubicBezTo>
                    <a:pt x="119" y="96"/>
                    <a:pt x="116" y="95"/>
                    <a:pt x="113" y="97"/>
                  </a:cubicBezTo>
                  <a:cubicBezTo>
                    <a:pt x="110" y="94"/>
                    <a:pt x="103" y="95"/>
                    <a:pt x="100" y="98"/>
                  </a:cubicBezTo>
                  <a:cubicBezTo>
                    <a:pt x="98" y="97"/>
                    <a:pt x="97" y="96"/>
                    <a:pt x="95" y="95"/>
                  </a:cubicBezTo>
                  <a:cubicBezTo>
                    <a:pt x="95" y="95"/>
                    <a:pt x="95" y="96"/>
                    <a:pt x="94" y="96"/>
                  </a:cubicBezTo>
                  <a:cubicBezTo>
                    <a:pt x="93" y="97"/>
                    <a:pt x="90" y="96"/>
                    <a:pt x="90" y="98"/>
                  </a:cubicBezTo>
                  <a:cubicBezTo>
                    <a:pt x="86" y="98"/>
                    <a:pt x="83" y="103"/>
                    <a:pt x="80" y="103"/>
                  </a:cubicBezTo>
                  <a:cubicBezTo>
                    <a:pt x="78" y="105"/>
                    <a:pt x="74" y="106"/>
                    <a:pt x="73" y="109"/>
                  </a:cubicBezTo>
                  <a:cubicBezTo>
                    <a:pt x="72" y="108"/>
                    <a:pt x="72" y="109"/>
                    <a:pt x="71" y="109"/>
                  </a:cubicBezTo>
                  <a:cubicBezTo>
                    <a:pt x="66" y="115"/>
                    <a:pt x="56" y="117"/>
                    <a:pt x="51" y="125"/>
                  </a:cubicBezTo>
                  <a:cubicBezTo>
                    <a:pt x="50" y="124"/>
                    <a:pt x="47" y="126"/>
                    <a:pt x="45" y="125"/>
                  </a:cubicBezTo>
                  <a:cubicBezTo>
                    <a:pt x="45" y="124"/>
                    <a:pt x="46" y="123"/>
                    <a:pt x="47" y="121"/>
                  </a:cubicBezTo>
                  <a:cubicBezTo>
                    <a:pt x="47" y="122"/>
                    <a:pt x="46" y="122"/>
                    <a:pt x="47" y="122"/>
                  </a:cubicBezTo>
                  <a:cubicBezTo>
                    <a:pt x="48" y="121"/>
                    <a:pt x="47" y="117"/>
                    <a:pt x="49" y="118"/>
                  </a:cubicBezTo>
                  <a:cubicBezTo>
                    <a:pt x="49" y="115"/>
                    <a:pt x="52" y="112"/>
                    <a:pt x="52" y="108"/>
                  </a:cubicBezTo>
                  <a:cubicBezTo>
                    <a:pt x="55" y="105"/>
                    <a:pt x="55" y="103"/>
                    <a:pt x="57" y="99"/>
                  </a:cubicBezTo>
                  <a:cubicBezTo>
                    <a:pt x="56" y="99"/>
                    <a:pt x="56" y="99"/>
                    <a:pt x="55" y="99"/>
                  </a:cubicBezTo>
                  <a:cubicBezTo>
                    <a:pt x="53" y="96"/>
                    <a:pt x="44" y="95"/>
                    <a:pt x="40" y="98"/>
                  </a:cubicBezTo>
                  <a:cubicBezTo>
                    <a:pt x="38" y="96"/>
                    <a:pt x="33" y="98"/>
                    <a:pt x="31" y="96"/>
                  </a:cubicBezTo>
                  <a:cubicBezTo>
                    <a:pt x="27" y="98"/>
                    <a:pt x="20" y="96"/>
                    <a:pt x="17" y="98"/>
                  </a:cubicBezTo>
                  <a:cubicBezTo>
                    <a:pt x="14" y="95"/>
                    <a:pt x="10" y="96"/>
                    <a:pt x="6" y="92"/>
                  </a:cubicBezTo>
                  <a:cubicBezTo>
                    <a:pt x="6" y="90"/>
                    <a:pt x="6" y="90"/>
                    <a:pt x="4" y="89"/>
                  </a:cubicBezTo>
                  <a:cubicBezTo>
                    <a:pt x="6" y="88"/>
                    <a:pt x="4" y="86"/>
                    <a:pt x="2" y="85"/>
                  </a:cubicBezTo>
                  <a:cubicBezTo>
                    <a:pt x="3" y="84"/>
                    <a:pt x="2" y="82"/>
                    <a:pt x="2" y="81"/>
                  </a:cubicBezTo>
                  <a:cubicBezTo>
                    <a:pt x="3" y="82"/>
                    <a:pt x="2" y="80"/>
                    <a:pt x="3" y="81"/>
                  </a:cubicBezTo>
                  <a:cubicBezTo>
                    <a:pt x="1" y="73"/>
                    <a:pt x="2" y="64"/>
                    <a:pt x="1" y="54"/>
                  </a:cubicBezTo>
                  <a:cubicBezTo>
                    <a:pt x="1" y="53"/>
                    <a:pt x="1" y="53"/>
                    <a:pt x="0" y="52"/>
                  </a:cubicBezTo>
                  <a:cubicBezTo>
                    <a:pt x="0" y="52"/>
                    <a:pt x="1" y="52"/>
                    <a:pt x="1" y="52"/>
                  </a:cubicBezTo>
                  <a:cubicBezTo>
                    <a:pt x="2" y="38"/>
                    <a:pt x="0" y="31"/>
                    <a:pt x="0" y="18"/>
                  </a:cubicBezTo>
                  <a:cubicBezTo>
                    <a:pt x="0" y="18"/>
                    <a:pt x="1" y="17"/>
                    <a:pt x="0" y="17"/>
                  </a:cubicBezTo>
                  <a:cubicBezTo>
                    <a:pt x="0" y="15"/>
                    <a:pt x="2" y="12"/>
                    <a:pt x="2" y="9"/>
                  </a:cubicBezTo>
                  <a:cubicBezTo>
                    <a:pt x="3" y="7"/>
                    <a:pt x="4" y="5"/>
                    <a:pt x="6" y="5"/>
                  </a:cubicBezTo>
                  <a:cubicBezTo>
                    <a:pt x="6" y="5"/>
                    <a:pt x="6" y="4"/>
                    <a:pt x="6" y="4"/>
                  </a:cubicBezTo>
                  <a:cubicBezTo>
                    <a:pt x="10" y="3"/>
                    <a:pt x="16" y="4"/>
                    <a:pt x="17" y="2"/>
                  </a:cubicBezTo>
                  <a:cubicBezTo>
                    <a:pt x="18" y="2"/>
                    <a:pt x="17" y="2"/>
                    <a:pt x="17" y="3"/>
                  </a:cubicBezTo>
                  <a:cubicBezTo>
                    <a:pt x="18" y="2"/>
                    <a:pt x="19" y="1"/>
                    <a:pt x="20" y="3"/>
                  </a:cubicBezTo>
                  <a:cubicBezTo>
                    <a:pt x="29" y="2"/>
                    <a:pt x="35" y="1"/>
                    <a:pt x="43" y="3"/>
                  </a:cubicBezTo>
                  <a:cubicBezTo>
                    <a:pt x="44" y="1"/>
                    <a:pt x="47" y="2"/>
                    <a:pt x="47" y="1"/>
                  </a:cubicBezTo>
                  <a:cubicBezTo>
                    <a:pt x="51" y="2"/>
                    <a:pt x="59" y="2"/>
                    <a:pt x="61" y="2"/>
                  </a:cubicBezTo>
                  <a:cubicBezTo>
                    <a:pt x="68" y="4"/>
                    <a:pt x="78" y="2"/>
                    <a:pt x="84" y="3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8" y="2"/>
                    <a:pt x="91" y="4"/>
                    <a:pt x="95" y="2"/>
                  </a:cubicBezTo>
                  <a:cubicBezTo>
                    <a:pt x="101" y="2"/>
                    <a:pt x="112" y="1"/>
                    <a:pt x="118" y="1"/>
                  </a:cubicBezTo>
                  <a:cubicBezTo>
                    <a:pt x="118" y="1"/>
                    <a:pt x="118" y="1"/>
                    <a:pt x="118" y="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 dirty="0">
                <a:solidFill>
                  <a:schemeClr val="bg1"/>
                </a:solidFill>
              </a:endParaRPr>
            </a:p>
            <a:p>
              <a:r>
                <a:rPr lang="en-US" sz="1800" dirty="0">
                  <a:solidFill>
                    <a:schemeClr val="bg1"/>
                  </a:solidFill>
                </a:rPr>
                <a:t>Vail resort</a:t>
              </a:r>
              <a:endParaRPr lang="en-US" dirty="0"/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A5260420-8A7E-F333-433F-630E333676BE}"/>
                </a:ext>
              </a:extLst>
            </p:cNvPr>
            <p:cNvSpPr/>
            <p:nvPr/>
          </p:nvSpPr>
          <p:spPr>
            <a:xfrm>
              <a:off x="854046" y="938686"/>
              <a:ext cx="2838853" cy="330494"/>
            </a:xfrm>
            <a:prstGeom prst="rect">
              <a:avLst/>
            </a:prstGeom>
          </p:spPr>
          <p:txBody>
            <a:bodyPr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endParaRPr lang="en-US" sz="12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32792647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Deloitte_US_Onscreen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2.xml><?xml version="1.0" encoding="utf-8"?>
<a:theme xmlns:a="http://schemas.openxmlformats.org/drawingml/2006/main" name="Deloitte 16_9 onscreen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loitte 16_9 onscreen" id="{5BF5B43D-7990-4CDA-BE48-497BCBC1470C}" vid="{BE4EDB12-465C-4398-86A0-E4F2803CBF90}"/>
    </a:ext>
  </a:extLst>
</a:theme>
</file>

<file path=ppt/theme/theme3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EC55E33017AC441B0C19D5DCDE95CD1" ma:contentTypeVersion="4" ma:contentTypeDescription="Create a new document." ma:contentTypeScope="" ma:versionID="dbbc1f5a2242fe344357ffc4bcfa290e">
  <xsd:schema xmlns:xsd="http://www.w3.org/2001/XMLSchema" xmlns:xs="http://www.w3.org/2001/XMLSchema" xmlns:p="http://schemas.microsoft.com/office/2006/metadata/properties" xmlns:ns2="ed18517b-d780-4686-9689-2934e9b1c2cc" targetNamespace="http://schemas.microsoft.com/office/2006/metadata/properties" ma:root="true" ma:fieldsID="a3be57a5157362302d76ebcb891d703d" ns2:_="">
    <xsd:import namespace="ed18517b-d780-4686-9689-2934e9b1c2c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18517b-d780-4686-9689-2934e9b1c2c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95CE866-5C43-4B67-84C4-51C97A6611B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CC198B9-15F9-42EB-B27E-3C9980AD8B0F}">
  <ds:schemaRefs>
    <ds:schemaRef ds:uri="ed18517b-d780-4686-9689-2934e9b1c2c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2D2DC524-388C-4F62-ADD6-87FF78BCCF56}">
  <ds:schemaRefs>
    <ds:schemaRef ds:uri="http://schemas.microsoft.com/office/2006/documentManagement/types"/>
    <ds:schemaRef ds:uri="http://purl.org/dc/dcmitype/"/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ed18517b-d780-4686-9689-2934e9b1c2cc"/>
    <ds:schemaRef ds:uri="http://www.w3.org/XML/1998/namespace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831</TotalTime>
  <Words>1167</Words>
  <Application>Microsoft Office PowerPoint</Application>
  <PresentationFormat>Widescreen</PresentationFormat>
  <Paragraphs>202</Paragraphs>
  <Slides>16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6" baseType="lpstr">
      <vt:lpstr>Arial</vt:lpstr>
      <vt:lpstr>Calibri</vt:lpstr>
      <vt:lpstr>Chronicle Display Semi</vt:lpstr>
      <vt:lpstr>Open Sans</vt:lpstr>
      <vt:lpstr>Verdana</vt:lpstr>
      <vt:lpstr>Wingdings 2</vt:lpstr>
      <vt:lpstr>1_Deloitte_US_Onscreen</vt:lpstr>
      <vt:lpstr>Deloitte 16_9 onscreen</vt:lpstr>
      <vt:lpstr>Deloitte_US_Onscreen</vt:lpstr>
      <vt:lpstr>think-cell Slide</vt:lpstr>
      <vt:lpstr>PowerPoint Presentation</vt:lpstr>
      <vt:lpstr>Problem Statement</vt:lpstr>
      <vt:lpstr>Pre-Processing and Transformation</vt:lpstr>
      <vt:lpstr>Modeling, Tuning, and Testing</vt:lpstr>
      <vt:lpstr>Modeling, Tuning, and Testing (Cont’d)</vt:lpstr>
      <vt:lpstr>Modeling Accuracy and Final Model Selection</vt:lpstr>
      <vt:lpstr>Modeling Accuracy and Final Model Selection</vt:lpstr>
      <vt:lpstr>Determining How to Use Our Model: Leverage EDA</vt:lpstr>
      <vt:lpstr>Determining How to Use Our Model: Leverage EDA (Cont’d)</vt:lpstr>
      <vt:lpstr>Summary of Recommendations</vt:lpstr>
      <vt:lpstr>Summary of Recommendations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arah Malik</dc:creator>
  <cp:lastModifiedBy>Nabil Ansari</cp:lastModifiedBy>
  <cp:revision>138</cp:revision>
  <dcterms:created xsi:type="dcterms:W3CDTF">2020-11-09T18:04:06Z</dcterms:created>
  <dcterms:modified xsi:type="dcterms:W3CDTF">2023-06-20T03:28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EC55E33017AC441B0C19D5DCDE95CD1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3-04-29T19:35:29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4be6ff2b-c3c8-4c20-bed0-1aa69c10e0d9</vt:lpwstr>
  </property>
  <property fmtid="{D5CDD505-2E9C-101B-9397-08002B2CF9AE}" pid="9" name="MSIP_Label_ea60d57e-af5b-4752-ac57-3e4f28ca11dc_ContentBits">
    <vt:lpwstr>0</vt:lpwstr>
  </property>
</Properties>
</file>